
<file path=[Content_Types].xml><?xml version="1.0" encoding="utf-8"?>
<Types xmlns="http://schemas.openxmlformats.org/package/2006/content-types">
  <Default Extension="xml" ContentType="application/vnd.openxmlformats-package.core-properties+xml"/>
  <Default Extension="jpeg" ContentType="image/jpeg"/>
  <Default Extension="vml" ContentType="application/vnd.openxmlformats-officedocument.vmlDrawing"/>
  <Default Extension="emf" ContentType="image/x-emf"/>
  <Default Extension="bin" ContentType="application/vnd.openxmlformats-officedocument.oleObject"/>
  <Default Extension="rels" ContentType="application/vnd.openxmlformats-package.relationships+xml"/>
  <Override PartName="/ppt/presentation.xml" ContentType="application/vnd.openxmlformats-officedocument.presentationml.presentation.main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slides/slide169.xml" ContentType="application/vnd.openxmlformats-officedocument.presentationml.slide+xml"/>
  <Override PartName="/ppt/slideLayouts/slideLayout5.xml" ContentType="application/vnd.openxmlformats-officedocument.presentationml.slideLayout+xml"/>
  <Override PartName="/ppt/slideMasters/slideMaster1.xml" ContentType="application/vnd.openxmlformats-officedocument.presentationml.slideMaster+xml"/>
  <Override PartName="/ppt/tags/tag2.xml" ContentType="application/vnd.openxmlformats-officedocument.presentationml.tags+xml"/>
  <Override PartName="/ppt/tags/tag4.xml" ContentType="application/vnd.openxmlformats-officedocument.presentationml.tags+xml"/>
  <Override PartName="/ppt/tags/tag570.xml" ContentType="application/vnd.openxmlformats-officedocument.presentationml.tags+xml"/>
  <Override PartName="/ppt/notesSlides/notesSlide169.xml" ContentType="application/vnd.openxmlformats-officedocument.presentationml.notesSlide+xml"/>
  <Override PartName="/ppt/notesMasters/notesMaster1.xml" ContentType="application/vnd.openxmlformats-officedocument.presentationml.notesMaster+xml"/>
  <Override PartName="/ppt/theme/theme2.xml" ContentType="application/vnd.openxmlformats-officedocument.theme+xml"/>
  <Override PartName="/ppt/tableStyles.xml" ContentType="application/vnd.openxmlformats-officedocument.presentationml.tableStyles+xml"/>
  <Override PartName="/ppt/revisionInfo.xml" ContentType="application/vnd.ms-powerpoint.revisioninfo+xml"/>
  <Override PartName="/ppt/authors.xml" ContentType="application/vnd.ms-powerpoint.authors+xml"/>
  <Override PartName="/customXml/item1.xml" ContentType="application/xml"/>
  <Override PartName="/customXml/itemProps1.xml" ContentType="application/vnd.openxmlformats-officedocument.customXmlProperties+xml"/>
  <Override PartName="/customXml/item2.xml" ContentType="application/xml"/>
  <Override PartName="/customXml/itemProps2.xml" ContentType="application/vnd.openxmlformats-officedocument.customXmlProperties+xml"/>
  <Override PartName="/ppt/handoutMasters/handoutMaster1.xml" ContentType="application/vnd.openxmlformats-officedocument.presentationml.handoutMaster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docProps/custom.xml" ContentType="application/vnd.openxmlformats-officedocument.custom-properties+xml"/>
  <Override PartName="/docProps/app.xml" ContentType="application/vnd.openxmlformats-officedocument.extended-properties+xml"/>
</Types>
</file>

<file path=_rels/.rels>&#65279;<?xml version="1.0" encoding="utf-8"?><Relationships xmlns="http://schemas.openxmlformats.org/package/2006/relationships"><Relationship Type="http://schemas.openxmlformats.org/package/2006/relationships/metadata/core-properties" Target="/docProps/core.xml" Id="rId3" /><Relationship Type="http://schemas.openxmlformats.org/package/2006/relationships/metadata/thumbnail" Target="/docProps/thumbnail.jpeg" Id="rId2" /><Relationship Type="http://schemas.openxmlformats.org/officeDocument/2006/relationships/officeDocument" Target="/ppt/presentation.xml" Id="rId1" /><Relationship Type="http://schemas.openxmlformats.org/officeDocument/2006/relationships/custom-properties" Target="/docProps/custom.xml" Id="rId5" /><Relationship Type="http://schemas.openxmlformats.org/officeDocument/2006/relationships/extended-properties" Target="/docProps/app.xml" Id="rId4" /></Relationships>
</file>

<file path=ppt/presentation.xml><?xml version="1.0" encoding="utf-8"?>
<p:presentation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 autoCompressPictures="0">
  <p:sldMasterIdLst>
    <p:sldMasterId id="2147483692" r:id="rId3"/>
  </p:sldMasterIdLst>
  <p:notesMasterIdLst>
    <p:notesMasterId r:id="rId254"/>
  </p:notesMasterIdLst>
  <p:handoutMasterIdLst>
    <p:handoutMasterId r:id="rId255"/>
  </p:handoutMasterIdLst>
  <p:sldIdLst>
    <p:sldId id="481" r:id="rId172"/>
  </p:sldIdLst>
  <p:sldSz cx="12192000" cy="6858000"/>
  <p:notesSz cx="6858000" cy="9144000"/>
  <p:custDataLst>
    <p:tags r:id="rId25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hor" initials="A" userId="Author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52536"/>
    <a:srgbClr val="C0C0C0"/>
    <a:srgbClr val="FFFFFF"/>
    <a:srgbClr val="EAEAEA"/>
    <a:srgbClr val="777777"/>
    <a:srgbClr val="000000"/>
    <a:srgbClr val="A5A5A5"/>
    <a:srgbClr val="444444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96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AA9D4EB-3D9D-4565-8C35-32D62D845C2C}" v="40032" dt="2024-10-23T10:06:55.321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 varScale="1">
        <p:scale>
          <a:sx n="110" d="100"/>
          <a:sy n="110" d="100"/>
        </p:scale>
        <p:origin x="162" y="1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2008" cy="72008"/>
</p:viewPr>
</file>

<file path=ppt/_rels/presentation.xml.rels>&#65279;<?xml version="1.0" encoding="utf-8"?><Relationships xmlns="http://schemas.openxmlformats.org/package/2006/relationships"><Relationship Type="http://schemas.openxmlformats.org/officeDocument/2006/relationships/viewProps" Target="/ppt/viewProps.xml" Id="rId258" /><Relationship Type="http://schemas.openxmlformats.org/officeDocument/2006/relationships/theme" Target="/ppt/theme/theme1.xml" Id="rId259" /><Relationship Type="http://schemas.openxmlformats.org/officeDocument/2006/relationships/slide" Target="/ppt/slides/slide169.xml" Id="rId172" /><Relationship Type="http://schemas.openxmlformats.org/officeDocument/2006/relationships/tableStyles" Target="/ppt/tableStyles.xml" Id="rId260" /><Relationship Type="http://schemas.microsoft.com/office/2015/10/relationships/revisionInfo" Target="/ppt/revisionInfo.xml" Id="rId261" /><Relationship Type="http://schemas.microsoft.com/office/2018/10/relationships/authors" Target="/ppt/authors.xml" Id="rId262" /><Relationship Type="http://schemas.openxmlformats.org/officeDocument/2006/relationships/customXml" Target="/customXml/item1.xml" Id="rId1" /><Relationship Type="http://schemas.openxmlformats.org/officeDocument/2006/relationships/notesMaster" Target="/ppt/notesMasters/notesMaster1.xml" Id="rId254" /><Relationship Type="http://schemas.openxmlformats.org/officeDocument/2006/relationships/customXml" Target="/customXml/item2.xml" Id="rId2" /><Relationship Type="http://schemas.openxmlformats.org/officeDocument/2006/relationships/handoutMaster" Target="/ppt/handoutMasters/handoutMaster1.xml" Id="rId255" /><Relationship Type="http://schemas.openxmlformats.org/officeDocument/2006/relationships/slideMaster" Target="/ppt/slideMasters/slideMaster1.xml" Id="rId3" /><Relationship Type="http://schemas.openxmlformats.org/officeDocument/2006/relationships/tags" Target="/ppt/tags/tag1.xml" Id="rId256" /><Relationship Type="http://schemas.openxmlformats.org/officeDocument/2006/relationships/presProps" Target="/ppt/presProps.xml" Id="rId257" /></Relationships>
</file>

<file path=ppt/drawings/_rels/vmlDrawing1.vml.rels>&#65279;<?xml version="1.0" encoding="utf-8"?><Relationships xmlns="http://schemas.openxmlformats.org/package/2006/relationships"><Relationship Type="http://schemas.openxmlformats.org/officeDocument/2006/relationships/image" Target="/ppt/media/image1.emf" Id="rId1" /></Relationships>
</file>

<file path=ppt/drawings/_rels/vmlDrawing173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drawings/_rels/vmlDrawing3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handoutMasters/_rels/handoutMaster1.xml.rels>&#65279;<?xml version="1.0" encoding="utf-8"?><Relationships xmlns="http://schemas.openxmlformats.org/package/2006/relationships"><Relationship Type="http://schemas.openxmlformats.org/officeDocument/2006/relationships/theme" Target="/ppt/theme/theme3.xml" Id="rId1" 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7EC76A4D-CEC1-3E79-D6AB-EA09635240A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DAC04B5-6969-DBBE-877C-D0F27D3BCBE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87C93E6-3CAE-4165-B3AF-CD7E12F79975}" type="datetimeFigureOut">
              <a:rPr lang="en-US" smtClean="0"/>
              <a:t>2017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3255B24-6CD4-0AB7-92B1-423885C0211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7A1A191-D35D-D76C-55D2-BDD5135AFA8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BCFE8F1-C371-4820-8ED7-70D159B5B6F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6598692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&#65279;<?xml version="1.0" encoding="utf-8"?><Relationships xmlns="http://schemas.openxmlformats.org/package/2006/relationships"><Relationship Type="http://schemas.openxmlformats.org/officeDocument/2006/relationships/theme" Target="/ppt/theme/theme2.xml" Id="rId1" 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168236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notesMaster>
</file>

<file path=ppt/notesSlides/_rels/notesSlide169.xml.rels>&#65279;<?xml version="1.0" encoding="utf-8"?><Relationships xmlns="http://schemas.openxmlformats.org/package/2006/relationships"><Relationship Type="http://schemas.openxmlformats.org/officeDocument/2006/relationships/slide" Target="/ppt/slides/slide169.xml" Id="rId2" /><Relationship Type="http://schemas.openxmlformats.org/officeDocument/2006/relationships/notesMaster" Target="/ppt/notesMasters/notesMaster1.xml" Id="rId1" /></Relationships>
</file>

<file path=ppt/notesSlides/notesSlide16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91366962"/>
      </p:ext>
    </p:extLst>
  </p:cSld>
  <p:clrMapOvr>
    <a:masterClrMapping/>
  </p:clrMapOvr>
</p:notes>
</file>

<file path=ppt/slideLayouts/_rels/slideLayout5.xml.rels>&#65279;<?xml version="1.0" encoding="utf-8"?><Relationships xmlns="http://schemas.openxmlformats.org/package/2006/relationships"><Relationship Type="http://schemas.openxmlformats.org/officeDocument/2006/relationships/slideMaster" Target="/ppt/slideMasters/slideMaster1.xml" Id="rId3" /><Relationship Type="http://schemas.openxmlformats.org/officeDocument/2006/relationships/tags" Target="/ppt/tags/tag4.xml" Id="rId2" /><Relationship Type="http://schemas.openxmlformats.org/officeDocument/2006/relationships/vmlDrawing" Target="/ppt/drawings/vmlDrawing3.vml" Id="rId1" /><Relationship Type="http://schemas.openxmlformats.org/officeDocument/2006/relationships/image" Target="/ppt/media/image4.emf" Id="rId5" /><Relationship Type="http://schemas.openxmlformats.org/officeDocument/2006/relationships/oleObject" Target="/ppt/embeddings/oleObject3.bin" Id="rId4" /></Relationships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1127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376528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&#65279;<?xml version="1.0" encoding="utf-8"?><Relationships xmlns="http://schemas.openxmlformats.org/package/2006/relationships"><Relationship Type="http://schemas.openxmlformats.org/officeDocument/2006/relationships/vmlDrawing" Target="/ppt/drawings/vmlDrawing1.vml" Id="rId8" /><Relationship Type="http://schemas.openxmlformats.org/officeDocument/2006/relationships/theme" Target="/ppt/theme/theme1.xml" Id="rId7" /><Relationship Type="http://schemas.openxmlformats.org/officeDocument/2006/relationships/image" Target="/ppt/media/image1.emf" Id="rId11" /><Relationship Type="http://schemas.openxmlformats.org/officeDocument/2006/relationships/slideLayout" Target="/ppt/slideLayouts/slideLayout5.xml" Id="rId5" /><Relationship Type="http://schemas.openxmlformats.org/officeDocument/2006/relationships/oleObject" Target="/ppt/embeddings/oleObject1.bin" Id="rId10" /><Relationship Type="http://schemas.openxmlformats.org/officeDocument/2006/relationships/tags" Target="/ppt/tags/tag2.xml" Id="rId9" /></Relationships>
</file>

<file path=ppt/slideMasters/slideMaster1.xml><?xml version="1.0" encoding="utf-8"?>
<p:sldMaster xmlns:mc="http://schemas.openxmlformats.org/markup-compatibility/2006" xmlns:v="urn:schemas-microsoft-com:vml" xmlns:a16="http://schemas.microsoft.com/office/drawing/2014/main" xmlns:p14="http://schemas.microsoft.com/office/powerpoint/2010/main"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9079" name="think-cell 幻灯片" r:id="rId10" imgW="270" imgH="270" progId="TCLayout.ActiveDocument.1">
                  <p:embed/>
                </p:oleObj>
              </mc:Choice>
              <mc:Fallback>
                <p:oleObj name="think-cell 幻灯片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18388758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5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169.xml.rels>&#65279;<?xml version="1.0" encoding="utf-8"?><Relationships xmlns="http://schemas.openxmlformats.org/package/2006/relationships"><Relationship Type="http://schemas.openxmlformats.org/officeDocument/2006/relationships/slideLayout" Target="/ppt/slideLayouts/slideLayout5.xml" Id="rId3" /><Relationship Type="http://schemas.openxmlformats.org/officeDocument/2006/relationships/tags" Target="/ppt/tags/tag570.xml" Id="rId2" /><Relationship Type="http://schemas.openxmlformats.org/officeDocument/2006/relationships/vmlDrawing" Target="/ppt/drawings/vmlDrawing173.vml" Id="rId1" /><Relationship Type="http://schemas.openxmlformats.org/officeDocument/2006/relationships/image" Target="/ppt/media/image4.emf" Id="rId6" /><Relationship Type="http://schemas.openxmlformats.org/officeDocument/2006/relationships/oleObject" Target="/ppt/embeddings/oleObject173.bin" Id="rId5" /><Relationship Type="http://schemas.openxmlformats.org/officeDocument/2006/relationships/notesSlide" Target="/ppt/notesSlides/notesSlide169.xml" Id="rId4" /></Relationships>
</file>

<file path=ppt/slides/slide169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816494A8-BFF6-04E5-A4A2-020B8041E3D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244663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5111" name="think-cell 幻灯片" r:id="rId5" imgW="349" imgH="350" progId="TCLayout.ActiveDocument.1">
                  <p:embed/>
                </p:oleObj>
              </mc:Choice>
              <mc:Fallback>
                <p:oleObj name="think-cell 幻灯片" r:id="rId5" imgW="349" imgH="35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16494A8-BFF6-04E5-A4A2-020B8041E3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83442F60-F4AE-C57A-6E7C-EE6D6E272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39004"/>
          </a:xfrm>
        </p:spPr>
        <p:txBody>
          <a:bodyPr vert="horz"/>
          <a:lstStyle/>
          <a:p>
            <a:r>
              <a:rPr lang="en-US"/>
              <a:t>Team slide with four members and social media profiles I</a:t>
            </a:r>
          </a:p>
        </p:txBody>
      </p:sp>
      <p:grpSp>
        <p:nvGrpSpPr>
          <p:cNvPr id="2" name="Gruppieren 34">
            <a:extLst>
              <a:ext uri="{FF2B5EF4-FFF2-40B4-BE49-F238E27FC236}">
                <a16:creationId xmlns:a16="http://schemas.microsoft.com/office/drawing/2014/main" id="{F07C9D39-55B8-EFCF-52E1-EB3801EFC4AF}"/>
              </a:ext>
            </a:extLst>
          </p:cNvPr>
          <p:cNvGrpSpPr>
            <a:grpSpLocks/>
          </p:cNvGrpSpPr>
          <p:nvPr/>
        </p:nvGrpSpPr>
        <p:grpSpPr>
          <a:xfrm>
            <a:off x="419099" y="1562523"/>
            <a:ext cx="5027702" cy="2160000"/>
            <a:chOff x="419099" y="1419648"/>
            <a:chExt cx="5027702" cy="2160000"/>
          </a:xfrm>
        </p:grpSpPr>
        <p:sp>
          <p:nvSpPr>
            <p:cNvPr id="3" name="Copy contact 1">
              <a:extLst>
                <a:ext uri="{FF2B5EF4-FFF2-40B4-BE49-F238E27FC236}">
                  <a16:creationId xmlns:a16="http://schemas.microsoft.com/office/drawing/2014/main" id="{41A7C76F-86D5-85BA-0163-1EB99F183EEC}"/>
                </a:ext>
              </a:extLst>
            </p:cNvPr>
            <p:cNvSpPr>
              <a:spLocks/>
            </p:cNvSpPr>
            <p:nvPr/>
          </p:nvSpPr>
          <p:spPr bwMode="gray">
            <a:xfrm>
              <a:off x="2869221" y="1419648"/>
              <a:ext cx="2577579" cy="492443"/>
            </a:xfrm>
            <a:prstGeom prst="rect">
              <a:avLst/>
            </a:prstGeom>
          </p:spPr>
          <p:txBody>
            <a:bodyPr wrap="square" lIns="0" tIns="0" rIns="0" bIns="0" anchor="t" anchorCtr="0">
              <a:spAutoFit/>
            </a:bodyPr>
            <a:lstStyle/>
            <a:p>
              <a:pPr marL="0" marR="0" lvl="0" indent="0" defTabSz="91394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879BAA">
                    <a:lumMod val="100000"/>
                  </a:srgbClr>
                </a:buClr>
                <a:buSzPct val="100000"/>
                <a:buFontTx/>
                <a:buNone/>
                <a:tabLst/>
                <a:defRPr/>
              </a:pPr>
              <a:r>
                <a:rPr kumimoji="0" lang="en-US" sz="2000" i="0" u="none" strike="noStrike" kern="0" cap="none" spc="0" normalizeH="0" baseline="0" noProof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ea typeface="Arial Unicode MS" panose="020B0604020202020204" pitchFamily="34" charset="-128"/>
                </a:rPr>
                <a:t>Name Surname</a:t>
              </a:r>
            </a:p>
            <a:p>
              <a:pPr defTabSz="913943">
                <a:spcAft>
                  <a:spcPts val="2400"/>
                </a:spcAft>
                <a:buClr>
                  <a:srgbClr val="879BAA">
                    <a:lumMod val="100000"/>
                  </a:srgbClr>
                </a:buClr>
                <a:buSzPct val="100000"/>
                <a:defRPr/>
              </a:pPr>
              <a:r>
                <a:rPr lang="en-US" sz="1200" b="1" kern="0">
                  <a:solidFill>
                    <a:schemeClr val="accent1"/>
                  </a:solidFill>
                  <a:ea typeface="Arial Unicode MS" panose="020B0604020202020204" pitchFamily="34" charset="-128"/>
                </a:rPr>
                <a:t>Position lorem ipsum</a:t>
              </a:r>
            </a:p>
          </p:txBody>
        </p:sp>
        <p:sp>
          <p:nvSpPr>
            <p:cNvPr id="4" name="Rectangle 90">
              <a:extLst>
                <a:ext uri="{FF2B5EF4-FFF2-40B4-BE49-F238E27FC236}">
                  <a16:creationId xmlns:a16="http://schemas.microsoft.com/office/drawing/2014/main" id="{EDA337D5-1EA3-BCB1-2FCC-446D8B320C49}"/>
                </a:ext>
              </a:extLst>
            </p:cNvPr>
            <p:cNvSpPr>
              <a:spLocks/>
            </p:cNvSpPr>
            <p:nvPr/>
          </p:nvSpPr>
          <p:spPr bwMode="auto">
            <a:xfrm>
              <a:off x="419099" y="1419648"/>
              <a:ext cx="2160000" cy="2160000"/>
            </a:xfrm>
            <a:prstGeom prst="teardrop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cap="all" spc="100">
                  <a:solidFill>
                    <a:schemeClr val="accent5"/>
                  </a:solidFill>
                </a:rPr>
                <a:t>Image</a:t>
              </a:r>
            </a:p>
          </p:txBody>
        </p:sp>
        <p:sp>
          <p:nvSpPr>
            <p:cNvPr id="6" name="Grafik 5">
              <a:extLst>
                <a:ext uri="{FF2B5EF4-FFF2-40B4-BE49-F238E27FC236}">
                  <a16:creationId xmlns:a16="http://schemas.microsoft.com/office/drawing/2014/main" id="{F671EC04-4538-E32C-1D58-25B4BD6F80AA}"/>
                </a:ext>
              </a:extLst>
            </p:cNvPr>
            <p:cNvSpPr>
              <a:spLocks/>
            </p:cNvSpPr>
            <p:nvPr/>
          </p:nvSpPr>
          <p:spPr>
            <a:xfrm>
              <a:off x="2869221" y="2571248"/>
              <a:ext cx="216805" cy="216805"/>
            </a:xfrm>
            <a:custGeom>
              <a:avLst/>
              <a:gdLst>
                <a:gd name="connsiteX0" fmla="*/ 3962400 w 4267200"/>
                <a:gd name="connsiteY0" fmla="*/ 0 h 4267200"/>
                <a:gd name="connsiteX1" fmla="*/ 303848 w 4267200"/>
                <a:gd name="connsiteY1" fmla="*/ 0 h 4267200"/>
                <a:gd name="connsiteX2" fmla="*/ 0 w 4267200"/>
                <a:gd name="connsiteY2" fmla="*/ 307658 h 4267200"/>
                <a:gd name="connsiteX3" fmla="*/ 0 w 4267200"/>
                <a:gd name="connsiteY3" fmla="*/ 3959543 h 4267200"/>
                <a:gd name="connsiteX4" fmla="*/ 303848 w 4267200"/>
                <a:gd name="connsiteY4" fmla="*/ 4267200 h 4267200"/>
                <a:gd name="connsiteX5" fmla="*/ 3962400 w 4267200"/>
                <a:gd name="connsiteY5" fmla="*/ 4267200 h 4267200"/>
                <a:gd name="connsiteX6" fmla="*/ 4267200 w 4267200"/>
                <a:gd name="connsiteY6" fmla="*/ 3959543 h 4267200"/>
                <a:gd name="connsiteX7" fmla="*/ 4267200 w 4267200"/>
                <a:gd name="connsiteY7" fmla="*/ 307658 h 4267200"/>
                <a:gd name="connsiteX8" fmla="*/ 3962400 w 4267200"/>
                <a:gd name="connsiteY8" fmla="*/ 0 h 4267200"/>
                <a:gd name="connsiteX9" fmla="*/ 1289685 w 4267200"/>
                <a:gd name="connsiteY9" fmla="*/ 3657600 h 4267200"/>
                <a:gd name="connsiteX10" fmla="*/ 657225 w 4267200"/>
                <a:gd name="connsiteY10" fmla="*/ 3657600 h 4267200"/>
                <a:gd name="connsiteX11" fmla="*/ 657225 w 4267200"/>
                <a:gd name="connsiteY11" fmla="*/ 1621155 h 4267200"/>
                <a:gd name="connsiteX12" fmla="*/ 1290638 w 4267200"/>
                <a:gd name="connsiteY12" fmla="*/ 1621155 h 4267200"/>
                <a:gd name="connsiteX13" fmla="*/ 1290638 w 4267200"/>
                <a:gd name="connsiteY13" fmla="*/ 3657600 h 4267200"/>
                <a:gd name="connsiteX14" fmla="*/ 973455 w 4267200"/>
                <a:gd name="connsiteY14" fmla="*/ 1343025 h 4267200"/>
                <a:gd name="connsiteX15" fmla="*/ 606743 w 4267200"/>
                <a:gd name="connsiteY15" fmla="*/ 976313 h 4267200"/>
                <a:gd name="connsiteX16" fmla="*/ 973455 w 4267200"/>
                <a:gd name="connsiteY16" fmla="*/ 609600 h 4267200"/>
                <a:gd name="connsiteX17" fmla="*/ 1340168 w 4267200"/>
                <a:gd name="connsiteY17" fmla="*/ 976313 h 4267200"/>
                <a:gd name="connsiteX18" fmla="*/ 973455 w 4267200"/>
                <a:gd name="connsiteY18" fmla="*/ 1343025 h 4267200"/>
                <a:gd name="connsiteX19" fmla="*/ 3660458 w 4267200"/>
                <a:gd name="connsiteY19" fmla="*/ 3657600 h 4267200"/>
                <a:gd name="connsiteX20" fmla="*/ 3027998 w 4267200"/>
                <a:gd name="connsiteY20" fmla="*/ 3657600 h 4267200"/>
                <a:gd name="connsiteX21" fmla="*/ 3027998 w 4267200"/>
                <a:gd name="connsiteY21" fmla="*/ 2667000 h 4267200"/>
                <a:gd name="connsiteX22" fmla="*/ 2699385 w 4267200"/>
                <a:gd name="connsiteY22" fmla="*/ 2126933 h 4267200"/>
                <a:gd name="connsiteX23" fmla="*/ 2319338 w 4267200"/>
                <a:gd name="connsiteY23" fmla="*/ 2649855 h 4267200"/>
                <a:gd name="connsiteX24" fmla="*/ 2319338 w 4267200"/>
                <a:gd name="connsiteY24" fmla="*/ 3657600 h 4267200"/>
                <a:gd name="connsiteX25" fmla="*/ 1686878 w 4267200"/>
                <a:gd name="connsiteY25" fmla="*/ 3657600 h 4267200"/>
                <a:gd name="connsiteX26" fmla="*/ 1686878 w 4267200"/>
                <a:gd name="connsiteY26" fmla="*/ 1621155 h 4267200"/>
                <a:gd name="connsiteX27" fmla="*/ 2293620 w 4267200"/>
                <a:gd name="connsiteY27" fmla="*/ 1621155 h 4267200"/>
                <a:gd name="connsiteX28" fmla="*/ 2293620 w 4267200"/>
                <a:gd name="connsiteY28" fmla="*/ 1899285 h 4267200"/>
                <a:gd name="connsiteX29" fmla="*/ 2302193 w 4267200"/>
                <a:gd name="connsiteY29" fmla="*/ 1899285 h 4267200"/>
                <a:gd name="connsiteX30" fmla="*/ 2901315 w 4267200"/>
                <a:gd name="connsiteY30" fmla="*/ 1570673 h 4267200"/>
                <a:gd name="connsiteX31" fmla="*/ 3660458 w 4267200"/>
                <a:gd name="connsiteY31" fmla="*/ 2541270 h 4267200"/>
                <a:gd name="connsiteX32" fmla="*/ 3660458 w 4267200"/>
                <a:gd name="connsiteY32" fmla="*/ 3657600 h 426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4267200" h="4267200">
                  <a:moveTo>
                    <a:pt x="3962400" y="0"/>
                  </a:moveTo>
                  <a:lnTo>
                    <a:pt x="303848" y="0"/>
                  </a:lnTo>
                  <a:cubicBezTo>
                    <a:pt x="136208" y="0"/>
                    <a:pt x="0" y="138113"/>
                    <a:pt x="0" y="307658"/>
                  </a:cubicBezTo>
                  <a:lnTo>
                    <a:pt x="0" y="3959543"/>
                  </a:lnTo>
                  <a:cubicBezTo>
                    <a:pt x="0" y="4129088"/>
                    <a:pt x="136208" y="4267200"/>
                    <a:pt x="303848" y="4267200"/>
                  </a:cubicBezTo>
                  <a:lnTo>
                    <a:pt x="3962400" y="4267200"/>
                  </a:lnTo>
                  <a:cubicBezTo>
                    <a:pt x="4130040" y="4267200"/>
                    <a:pt x="4267200" y="4129088"/>
                    <a:pt x="4267200" y="3959543"/>
                  </a:cubicBezTo>
                  <a:lnTo>
                    <a:pt x="4267200" y="307658"/>
                  </a:lnTo>
                  <a:cubicBezTo>
                    <a:pt x="4267200" y="138113"/>
                    <a:pt x="4130040" y="0"/>
                    <a:pt x="3962400" y="0"/>
                  </a:cubicBezTo>
                  <a:close/>
                  <a:moveTo>
                    <a:pt x="1289685" y="3657600"/>
                  </a:moveTo>
                  <a:lnTo>
                    <a:pt x="657225" y="3657600"/>
                  </a:lnTo>
                  <a:lnTo>
                    <a:pt x="657225" y="1621155"/>
                  </a:lnTo>
                  <a:lnTo>
                    <a:pt x="1290638" y="1621155"/>
                  </a:lnTo>
                  <a:lnTo>
                    <a:pt x="1290638" y="3657600"/>
                  </a:lnTo>
                  <a:close/>
                  <a:moveTo>
                    <a:pt x="973455" y="1343025"/>
                  </a:moveTo>
                  <a:cubicBezTo>
                    <a:pt x="770573" y="1343025"/>
                    <a:pt x="606743" y="1178243"/>
                    <a:pt x="606743" y="976313"/>
                  </a:cubicBezTo>
                  <a:cubicBezTo>
                    <a:pt x="606743" y="774383"/>
                    <a:pt x="770573" y="609600"/>
                    <a:pt x="973455" y="609600"/>
                  </a:cubicBezTo>
                  <a:cubicBezTo>
                    <a:pt x="1175385" y="609600"/>
                    <a:pt x="1340168" y="774383"/>
                    <a:pt x="1340168" y="976313"/>
                  </a:cubicBezTo>
                  <a:cubicBezTo>
                    <a:pt x="1340168" y="1179195"/>
                    <a:pt x="1176338" y="1343025"/>
                    <a:pt x="973455" y="1343025"/>
                  </a:cubicBezTo>
                  <a:close/>
                  <a:moveTo>
                    <a:pt x="3660458" y="3657600"/>
                  </a:moveTo>
                  <a:lnTo>
                    <a:pt x="3027998" y="3657600"/>
                  </a:lnTo>
                  <a:lnTo>
                    <a:pt x="3027998" y="2667000"/>
                  </a:lnTo>
                  <a:cubicBezTo>
                    <a:pt x="3027998" y="2430780"/>
                    <a:pt x="3023235" y="2126933"/>
                    <a:pt x="2699385" y="2126933"/>
                  </a:cubicBezTo>
                  <a:cubicBezTo>
                    <a:pt x="2369820" y="2126933"/>
                    <a:pt x="2319338" y="2384108"/>
                    <a:pt x="2319338" y="2649855"/>
                  </a:cubicBezTo>
                  <a:lnTo>
                    <a:pt x="2319338" y="3657600"/>
                  </a:lnTo>
                  <a:lnTo>
                    <a:pt x="1686878" y="3657600"/>
                  </a:lnTo>
                  <a:lnTo>
                    <a:pt x="1686878" y="1621155"/>
                  </a:lnTo>
                  <a:lnTo>
                    <a:pt x="2293620" y="1621155"/>
                  </a:lnTo>
                  <a:lnTo>
                    <a:pt x="2293620" y="1899285"/>
                  </a:lnTo>
                  <a:lnTo>
                    <a:pt x="2302193" y="1899285"/>
                  </a:lnTo>
                  <a:cubicBezTo>
                    <a:pt x="2386965" y="1739265"/>
                    <a:pt x="2593658" y="1570673"/>
                    <a:pt x="2901315" y="1570673"/>
                  </a:cubicBezTo>
                  <a:cubicBezTo>
                    <a:pt x="3541395" y="1570673"/>
                    <a:pt x="3660458" y="1992630"/>
                    <a:pt x="3660458" y="2541270"/>
                  </a:cubicBezTo>
                  <a:lnTo>
                    <a:pt x="3660458" y="3657600"/>
                  </a:lnTo>
                  <a:close/>
                </a:path>
              </a:pathLst>
            </a:custGeom>
            <a:solidFill>
              <a:schemeClr val="accent5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" name="Grafik 18">
              <a:extLst>
                <a:ext uri="{FF2B5EF4-FFF2-40B4-BE49-F238E27FC236}">
                  <a16:creationId xmlns:a16="http://schemas.microsoft.com/office/drawing/2014/main" id="{6152B711-E8C9-9404-A3B5-E54A505E8FC1}"/>
                </a:ext>
              </a:extLst>
            </p:cNvPr>
            <p:cNvSpPr>
              <a:spLocks/>
            </p:cNvSpPr>
            <p:nvPr/>
          </p:nvSpPr>
          <p:spPr>
            <a:xfrm>
              <a:off x="2869221" y="3115675"/>
              <a:ext cx="216805" cy="216805"/>
            </a:xfrm>
            <a:custGeom>
              <a:avLst/>
              <a:gdLst>
                <a:gd name="connsiteX0" fmla="*/ 3810000 w 4267200"/>
                <a:gd name="connsiteY0" fmla="*/ 0 h 4267200"/>
                <a:gd name="connsiteX1" fmla="*/ 457200 w 4267200"/>
                <a:gd name="connsiteY1" fmla="*/ 0 h 4267200"/>
                <a:gd name="connsiteX2" fmla="*/ 0 w 4267200"/>
                <a:gd name="connsiteY2" fmla="*/ 457200 h 4267200"/>
                <a:gd name="connsiteX3" fmla="*/ 0 w 4267200"/>
                <a:gd name="connsiteY3" fmla="*/ 3810000 h 4267200"/>
                <a:gd name="connsiteX4" fmla="*/ 457200 w 4267200"/>
                <a:gd name="connsiteY4" fmla="*/ 4267200 h 4267200"/>
                <a:gd name="connsiteX5" fmla="*/ 1764506 w 4267200"/>
                <a:gd name="connsiteY5" fmla="*/ 4267200 h 4267200"/>
                <a:gd name="connsiteX6" fmla="*/ 1764506 w 4267200"/>
                <a:gd name="connsiteY6" fmla="*/ 2816447 h 4267200"/>
                <a:gd name="connsiteX7" fmla="*/ 1164431 w 4267200"/>
                <a:gd name="connsiteY7" fmla="*/ 2816447 h 4267200"/>
                <a:gd name="connsiteX8" fmla="*/ 1164431 w 4267200"/>
                <a:gd name="connsiteY8" fmla="*/ 2133600 h 4267200"/>
                <a:gd name="connsiteX9" fmla="*/ 1764506 w 4267200"/>
                <a:gd name="connsiteY9" fmla="*/ 2133600 h 4267200"/>
                <a:gd name="connsiteX10" fmla="*/ 1764506 w 4267200"/>
                <a:gd name="connsiteY10" fmla="*/ 1613154 h 4267200"/>
                <a:gd name="connsiteX11" fmla="*/ 2656713 w 4267200"/>
                <a:gd name="connsiteY11" fmla="*/ 694182 h 4267200"/>
                <a:gd name="connsiteX12" fmla="*/ 3185541 w 4267200"/>
                <a:gd name="connsiteY12" fmla="*/ 740283 h 4267200"/>
                <a:gd name="connsiteX13" fmla="*/ 3185541 w 4267200"/>
                <a:gd name="connsiteY13" fmla="*/ 1321308 h 4267200"/>
                <a:gd name="connsiteX14" fmla="*/ 2887695 w 4267200"/>
                <a:gd name="connsiteY14" fmla="*/ 1321308 h 4267200"/>
                <a:gd name="connsiteX15" fmla="*/ 2502694 w 4267200"/>
                <a:gd name="connsiteY15" fmla="*/ 1690211 h 4267200"/>
                <a:gd name="connsiteX16" fmla="*/ 2502694 w 4267200"/>
                <a:gd name="connsiteY16" fmla="*/ 2133600 h 4267200"/>
                <a:gd name="connsiteX17" fmla="*/ 3157823 w 4267200"/>
                <a:gd name="connsiteY17" fmla="*/ 2133600 h 4267200"/>
                <a:gd name="connsiteX18" fmla="*/ 3053048 w 4267200"/>
                <a:gd name="connsiteY18" fmla="*/ 2816447 h 4267200"/>
                <a:gd name="connsiteX19" fmla="*/ 2502694 w 4267200"/>
                <a:gd name="connsiteY19" fmla="*/ 2816447 h 4267200"/>
                <a:gd name="connsiteX20" fmla="*/ 2502694 w 4267200"/>
                <a:gd name="connsiteY20" fmla="*/ 4267200 h 4267200"/>
                <a:gd name="connsiteX21" fmla="*/ 3810000 w 4267200"/>
                <a:gd name="connsiteY21" fmla="*/ 4267200 h 4267200"/>
                <a:gd name="connsiteX22" fmla="*/ 4267200 w 4267200"/>
                <a:gd name="connsiteY22" fmla="*/ 3810000 h 4267200"/>
                <a:gd name="connsiteX23" fmla="*/ 4267200 w 4267200"/>
                <a:gd name="connsiteY23" fmla="*/ 457200 h 4267200"/>
                <a:gd name="connsiteX24" fmla="*/ 3810000 w 4267200"/>
                <a:gd name="connsiteY24" fmla="*/ 0 h 426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4267200" h="4267200">
                  <a:moveTo>
                    <a:pt x="3810000" y="0"/>
                  </a:moveTo>
                  <a:lnTo>
                    <a:pt x="457200" y="0"/>
                  </a:lnTo>
                  <a:cubicBezTo>
                    <a:pt x="204695" y="0"/>
                    <a:pt x="0" y="204695"/>
                    <a:pt x="0" y="457200"/>
                  </a:cubicBezTo>
                  <a:lnTo>
                    <a:pt x="0" y="3810000"/>
                  </a:lnTo>
                  <a:cubicBezTo>
                    <a:pt x="0" y="4062505"/>
                    <a:pt x="204695" y="4267200"/>
                    <a:pt x="457200" y="4267200"/>
                  </a:cubicBezTo>
                  <a:lnTo>
                    <a:pt x="1764506" y="4267200"/>
                  </a:lnTo>
                  <a:lnTo>
                    <a:pt x="1764506" y="2816447"/>
                  </a:lnTo>
                  <a:lnTo>
                    <a:pt x="1164431" y="2816447"/>
                  </a:lnTo>
                  <a:lnTo>
                    <a:pt x="1164431" y="2133600"/>
                  </a:lnTo>
                  <a:lnTo>
                    <a:pt x="1764506" y="2133600"/>
                  </a:lnTo>
                  <a:lnTo>
                    <a:pt x="1764506" y="1613154"/>
                  </a:lnTo>
                  <a:cubicBezTo>
                    <a:pt x="1764506" y="1021175"/>
                    <a:pt x="2116931" y="694182"/>
                    <a:pt x="2656713" y="694182"/>
                  </a:cubicBezTo>
                  <a:cubicBezTo>
                    <a:pt x="2915222" y="694182"/>
                    <a:pt x="3185541" y="740283"/>
                    <a:pt x="3185541" y="740283"/>
                  </a:cubicBezTo>
                  <a:lnTo>
                    <a:pt x="3185541" y="1321308"/>
                  </a:lnTo>
                  <a:lnTo>
                    <a:pt x="2887695" y="1321308"/>
                  </a:lnTo>
                  <a:cubicBezTo>
                    <a:pt x="2594229" y="1321308"/>
                    <a:pt x="2502694" y="1503426"/>
                    <a:pt x="2502694" y="1690211"/>
                  </a:cubicBezTo>
                  <a:lnTo>
                    <a:pt x="2502694" y="2133600"/>
                  </a:lnTo>
                  <a:lnTo>
                    <a:pt x="3157823" y="2133600"/>
                  </a:lnTo>
                  <a:lnTo>
                    <a:pt x="3053048" y="2816447"/>
                  </a:lnTo>
                  <a:lnTo>
                    <a:pt x="2502694" y="2816447"/>
                  </a:lnTo>
                  <a:lnTo>
                    <a:pt x="2502694" y="4267200"/>
                  </a:lnTo>
                  <a:lnTo>
                    <a:pt x="3810000" y="4267200"/>
                  </a:lnTo>
                  <a:cubicBezTo>
                    <a:pt x="4062505" y="4267200"/>
                    <a:pt x="4267200" y="4062505"/>
                    <a:pt x="4267200" y="3810000"/>
                  </a:cubicBezTo>
                  <a:lnTo>
                    <a:pt x="4267200" y="457200"/>
                  </a:lnTo>
                  <a:cubicBezTo>
                    <a:pt x="4267200" y="204695"/>
                    <a:pt x="4062505" y="0"/>
                    <a:pt x="3810000" y="0"/>
                  </a:cubicBezTo>
                  <a:close/>
                </a:path>
              </a:pathLst>
            </a:custGeom>
            <a:solidFill>
              <a:schemeClr val="accent5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" name="Grafik 21">
              <a:extLst>
                <a:ext uri="{FF2B5EF4-FFF2-40B4-BE49-F238E27FC236}">
                  <a16:creationId xmlns:a16="http://schemas.microsoft.com/office/drawing/2014/main" id="{A16E221F-D827-687F-1AFC-BF17D3C424B9}"/>
                </a:ext>
              </a:extLst>
            </p:cNvPr>
            <p:cNvSpPr>
              <a:spLocks/>
            </p:cNvSpPr>
            <p:nvPr/>
          </p:nvSpPr>
          <p:spPr>
            <a:xfrm>
              <a:off x="2869221" y="2299035"/>
              <a:ext cx="216805" cy="216805"/>
            </a:xfrm>
            <a:custGeom>
              <a:avLst/>
              <a:gdLst>
                <a:gd name="connsiteX0" fmla="*/ 3810000 w 4267200"/>
                <a:gd name="connsiteY0" fmla="*/ 0 h 4267200"/>
                <a:gd name="connsiteX1" fmla="*/ 457200 w 4267200"/>
                <a:gd name="connsiteY1" fmla="*/ 0 h 4267200"/>
                <a:gd name="connsiteX2" fmla="*/ 0 w 4267200"/>
                <a:gd name="connsiteY2" fmla="*/ 457200 h 4267200"/>
                <a:gd name="connsiteX3" fmla="*/ 0 w 4267200"/>
                <a:gd name="connsiteY3" fmla="*/ 3810000 h 4267200"/>
                <a:gd name="connsiteX4" fmla="*/ 457200 w 4267200"/>
                <a:gd name="connsiteY4" fmla="*/ 4267200 h 4267200"/>
                <a:gd name="connsiteX5" fmla="*/ 3810000 w 4267200"/>
                <a:gd name="connsiteY5" fmla="*/ 4267200 h 4267200"/>
                <a:gd name="connsiteX6" fmla="*/ 4267200 w 4267200"/>
                <a:gd name="connsiteY6" fmla="*/ 3810000 h 4267200"/>
                <a:gd name="connsiteX7" fmla="*/ 4267200 w 4267200"/>
                <a:gd name="connsiteY7" fmla="*/ 457200 h 4267200"/>
                <a:gd name="connsiteX8" fmla="*/ 3810000 w 4267200"/>
                <a:gd name="connsiteY8" fmla="*/ 0 h 4267200"/>
                <a:gd name="connsiteX9" fmla="*/ 3344228 w 4267200"/>
                <a:gd name="connsiteY9" fmla="*/ 1512570 h 4267200"/>
                <a:gd name="connsiteX10" fmla="*/ 3346133 w 4267200"/>
                <a:gd name="connsiteY10" fmla="*/ 1593533 h 4267200"/>
                <a:gd name="connsiteX11" fmla="*/ 1568768 w 4267200"/>
                <a:gd name="connsiteY11" fmla="*/ 3370898 h 4267200"/>
                <a:gd name="connsiteX12" fmla="*/ 609600 w 4267200"/>
                <a:gd name="connsiteY12" fmla="*/ 3090863 h 4267200"/>
                <a:gd name="connsiteX13" fmla="*/ 760095 w 4267200"/>
                <a:gd name="connsiteY13" fmla="*/ 3098483 h 4267200"/>
                <a:gd name="connsiteX14" fmla="*/ 1535430 w 4267200"/>
                <a:gd name="connsiteY14" fmla="*/ 2831783 h 4267200"/>
                <a:gd name="connsiteX15" fmla="*/ 951548 w 4267200"/>
                <a:gd name="connsiteY15" fmla="*/ 2398395 h 4267200"/>
                <a:gd name="connsiteX16" fmla="*/ 1233488 w 4267200"/>
                <a:gd name="connsiteY16" fmla="*/ 2386965 h 4267200"/>
                <a:gd name="connsiteX17" fmla="*/ 733425 w 4267200"/>
                <a:gd name="connsiteY17" fmla="*/ 1773555 h 4267200"/>
                <a:gd name="connsiteX18" fmla="*/ 733425 w 4267200"/>
                <a:gd name="connsiteY18" fmla="*/ 1765935 h 4267200"/>
                <a:gd name="connsiteX19" fmla="*/ 1015365 w 4267200"/>
                <a:gd name="connsiteY19" fmla="*/ 1844993 h 4267200"/>
                <a:gd name="connsiteX20" fmla="*/ 737235 w 4267200"/>
                <a:gd name="connsiteY20" fmla="*/ 1324927 h 4267200"/>
                <a:gd name="connsiteX21" fmla="*/ 822008 w 4267200"/>
                <a:gd name="connsiteY21" fmla="*/ 1009650 h 4267200"/>
                <a:gd name="connsiteX22" fmla="*/ 2109788 w 4267200"/>
                <a:gd name="connsiteY22" fmla="*/ 1663065 h 4267200"/>
                <a:gd name="connsiteX23" fmla="*/ 2719388 w 4267200"/>
                <a:gd name="connsiteY23" fmla="*/ 895350 h 4267200"/>
                <a:gd name="connsiteX24" fmla="*/ 3175635 w 4267200"/>
                <a:gd name="connsiteY24" fmla="*/ 1092518 h 4267200"/>
                <a:gd name="connsiteX25" fmla="*/ 3571875 w 4267200"/>
                <a:gd name="connsiteY25" fmla="*/ 942022 h 4267200"/>
                <a:gd name="connsiteX26" fmla="*/ 3297555 w 4267200"/>
                <a:gd name="connsiteY26" fmla="*/ 1285875 h 4267200"/>
                <a:gd name="connsiteX27" fmla="*/ 3657600 w 4267200"/>
                <a:gd name="connsiteY27" fmla="*/ 1188720 h 4267200"/>
                <a:gd name="connsiteX28" fmla="*/ 3344228 w 4267200"/>
                <a:gd name="connsiteY28" fmla="*/ 1512570 h 426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4267200" h="4267200">
                  <a:moveTo>
                    <a:pt x="3810000" y="0"/>
                  </a:moveTo>
                  <a:lnTo>
                    <a:pt x="457200" y="0"/>
                  </a:lnTo>
                  <a:cubicBezTo>
                    <a:pt x="204788" y="0"/>
                    <a:pt x="0" y="204788"/>
                    <a:pt x="0" y="457200"/>
                  </a:cubicBezTo>
                  <a:lnTo>
                    <a:pt x="0" y="3810000"/>
                  </a:lnTo>
                  <a:cubicBezTo>
                    <a:pt x="0" y="4062413"/>
                    <a:pt x="204788" y="4267200"/>
                    <a:pt x="457200" y="4267200"/>
                  </a:cubicBezTo>
                  <a:lnTo>
                    <a:pt x="3810000" y="4267200"/>
                  </a:lnTo>
                  <a:cubicBezTo>
                    <a:pt x="4062413" y="4267200"/>
                    <a:pt x="4267200" y="4062413"/>
                    <a:pt x="4267200" y="3810000"/>
                  </a:cubicBezTo>
                  <a:lnTo>
                    <a:pt x="4267200" y="457200"/>
                  </a:lnTo>
                  <a:cubicBezTo>
                    <a:pt x="4267200" y="204788"/>
                    <a:pt x="4062413" y="0"/>
                    <a:pt x="3810000" y="0"/>
                  </a:cubicBezTo>
                  <a:close/>
                  <a:moveTo>
                    <a:pt x="3344228" y="1512570"/>
                  </a:moveTo>
                  <a:cubicBezTo>
                    <a:pt x="3346133" y="1539240"/>
                    <a:pt x="3346133" y="1566863"/>
                    <a:pt x="3346133" y="1593533"/>
                  </a:cubicBezTo>
                  <a:cubicBezTo>
                    <a:pt x="3346133" y="2419350"/>
                    <a:pt x="2717483" y="3370898"/>
                    <a:pt x="1568768" y="3370898"/>
                  </a:cubicBezTo>
                  <a:cubicBezTo>
                    <a:pt x="1214438" y="3370898"/>
                    <a:pt x="885825" y="3268028"/>
                    <a:pt x="609600" y="3090863"/>
                  </a:cubicBezTo>
                  <a:cubicBezTo>
                    <a:pt x="660083" y="3096578"/>
                    <a:pt x="708660" y="3098483"/>
                    <a:pt x="760095" y="3098483"/>
                  </a:cubicBezTo>
                  <a:cubicBezTo>
                    <a:pt x="1052513" y="3098483"/>
                    <a:pt x="1321118" y="2999423"/>
                    <a:pt x="1535430" y="2831783"/>
                  </a:cubicBezTo>
                  <a:cubicBezTo>
                    <a:pt x="1261110" y="2826068"/>
                    <a:pt x="1030605" y="2646045"/>
                    <a:pt x="951548" y="2398395"/>
                  </a:cubicBezTo>
                  <a:cubicBezTo>
                    <a:pt x="1047750" y="2412683"/>
                    <a:pt x="1134428" y="2412683"/>
                    <a:pt x="1233488" y="2386965"/>
                  </a:cubicBezTo>
                  <a:cubicBezTo>
                    <a:pt x="947738" y="2328863"/>
                    <a:pt x="733425" y="2077403"/>
                    <a:pt x="733425" y="1773555"/>
                  </a:cubicBezTo>
                  <a:lnTo>
                    <a:pt x="733425" y="1765935"/>
                  </a:lnTo>
                  <a:cubicBezTo>
                    <a:pt x="816293" y="1812608"/>
                    <a:pt x="913448" y="1841183"/>
                    <a:pt x="1015365" y="1844993"/>
                  </a:cubicBezTo>
                  <a:cubicBezTo>
                    <a:pt x="841329" y="1729229"/>
                    <a:pt x="736893" y="1533948"/>
                    <a:pt x="737235" y="1324927"/>
                  </a:cubicBezTo>
                  <a:cubicBezTo>
                    <a:pt x="737235" y="1208723"/>
                    <a:pt x="767715" y="1102043"/>
                    <a:pt x="822008" y="1009650"/>
                  </a:cubicBezTo>
                  <a:cubicBezTo>
                    <a:pt x="1129665" y="1388745"/>
                    <a:pt x="1591628" y="1636395"/>
                    <a:pt x="2109788" y="1663065"/>
                  </a:cubicBezTo>
                  <a:cubicBezTo>
                    <a:pt x="2021205" y="1239203"/>
                    <a:pt x="2338388" y="895350"/>
                    <a:pt x="2719388" y="895350"/>
                  </a:cubicBezTo>
                  <a:cubicBezTo>
                    <a:pt x="2899410" y="895350"/>
                    <a:pt x="3061335" y="970597"/>
                    <a:pt x="3175635" y="1092518"/>
                  </a:cubicBezTo>
                  <a:cubicBezTo>
                    <a:pt x="3316605" y="1065848"/>
                    <a:pt x="3451860" y="1013460"/>
                    <a:pt x="3571875" y="942022"/>
                  </a:cubicBezTo>
                  <a:cubicBezTo>
                    <a:pt x="3525203" y="1086803"/>
                    <a:pt x="3427095" y="1208723"/>
                    <a:pt x="3297555" y="1285875"/>
                  </a:cubicBezTo>
                  <a:cubicBezTo>
                    <a:pt x="3423285" y="1272540"/>
                    <a:pt x="3545205" y="1237298"/>
                    <a:pt x="3657600" y="1188720"/>
                  </a:cubicBezTo>
                  <a:cubicBezTo>
                    <a:pt x="3572828" y="1313498"/>
                    <a:pt x="3466148" y="1423988"/>
                    <a:pt x="3344228" y="1512570"/>
                  </a:cubicBezTo>
                  <a:close/>
                </a:path>
              </a:pathLst>
            </a:custGeom>
            <a:solidFill>
              <a:schemeClr val="accent5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" name="Grafik 27">
              <a:extLst>
                <a:ext uri="{FF2B5EF4-FFF2-40B4-BE49-F238E27FC236}">
                  <a16:creationId xmlns:a16="http://schemas.microsoft.com/office/drawing/2014/main" id="{6ABC21AD-5C39-B507-C372-A09A67FD884D}"/>
                </a:ext>
              </a:extLst>
            </p:cNvPr>
            <p:cNvSpPr>
              <a:spLocks/>
            </p:cNvSpPr>
            <p:nvPr/>
          </p:nvSpPr>
          <p:spPr>
            <a:xfrm>
              <a:off x="2869221" y="2843461"/>
              <a:ext cx="216805" cy="216805"/>
            </a:xfrm>
            <a:custGeom>
              <a:avLst/>
              <a:gdLst>
                <a:gd name="connsiteX0" fmla="*/ 2133600 w 4267200"/>
                <a:gd name="connsiteY0" fmla="*/ 1625537 h 4267200"/>
                <a:gd name="connsiteX1" fmla="*/ 1625727 w 4267200"/>
                <a:gd name="connsiteY1" fmla="*/ 2133791 h 4267200"/>
                <a:gd name="connsiteX2" fmla="*/ 2133981 w 4267200"/>
                <a:gd name="connsiteY2" fmla="*/ 2641664 h 4267200"/>
                <a:gd name="connsiteX3" fmla="*/ 2641854 w 4267200"/>
                <a:gd name="connsiteY3" fmla="*/ 2133600 h 4267200"/>
                <a:gd name="connsiteX4" fmla="*/ 2133600 w 4267200"/>
                <a:gd name="connsiteY4" fmla="*/ 1625537 h 4267200"/>
                <a:gd name="connsiteX5" fmla="*/ 3321463 w 4267200"/>
                <a:gd name="connsiteY5" fmla="*/ 1235012 h 4267200"/>
                <a:gd name="connsiteX6" fmla="*/ 3031808 w 4267200"/>
                <a:gd name="connsiteY6" fmla="*/ 945356 h 4267200"/>
                <a:gd name="connsiteX7" fmla="*/ 2133600 w 4267200"/>
                <a:gd name="connsiteY7" fmla="*/ 884111 h 4267200"/>
                <a:gd name="connsiteX8" fmla="*/ 1235297 w 4267200"/>
                <a:gd name="connsiteY8" fmla="*/ 945356 h 4267200"/>
                <a:gd name="connsiteX9" fmla="*/ 945642 w 4267200"/>
                <a:gd name="connsiteY9" fmla="*/ 1235012 h 4267200"/>
                <a:gd name="connsiteX10" fmla="*/ 884396 w 4267200"/>
                <a:gd name="connsiteY10" fmla="*/ 2133505 h 4267200"/>
                <a:gd name="connsiteX11" fmla="*/ 946023 w 4267200"/>
                <a:gd name="connsiteY11" fmla="*/ 3032093 h 4267200"/>
                <a:gd name="connsiteX12" fmla="*/ 1235678 w 4267200"/>
                <a:gd name="connsiteY12" fmla="*/ 3321749 h 4267200"/>
                <a:gd name="connsiteX13" fmla="*/ 2133981 w 4267200"/>
                <a:gd name="connsiteY13" fmla="*/ 3382995 h 4267200"/>
                <a:gd name="connsiteX14" fmla="*/ 3032189 w 4267200"/>
                <a:gd name="connsiteY14" fmla="*/ 3321749 h 4267200"/>
                <a:gd name="connsiteX15" fmla="*/ 3321844 w 4267200"/>
                <a:gd name="connsiteY15" fmla="*/ 3032093 h 4267200"/>
                <a:gd name="connsiteX16" fmla="*/ 3383090 w 4267200"/>
                <a:gd name="connsiteY16" fmla="*/ 2133600 h 4267200"/>
                <a:gd name="connsiteX17" fmla="*/ 3321844 w 4267200"/>
                <a:gd name="connsiteY17" fmla="*/ 1235107 h 4267200"/>
                <a:gd name="connsiteX18" fmla="*/ 2133600 w 4267200"/>
                <a:gd name="connsiteY18" fmla="*/ 2914650 h 4267200"/>
                <a:gd name="connsiteX19" fmla="*/ 1352550 w 4267200"/>
                <a:gd name="connsiteY19" fmla="*/ 2133600 h 4267200"/>
                <a:gd name="connsiteX20" fmla="*/ 2133600 w 4267200"/>
                <a:gd name="connsiteY20" fmla="*/ 1352550 h 4267200"/>
                <a:gd name="connsiteX21" fmla="*/ 2914650 w 4267200"/>
                <a:gd name="connsiteY21" fmla="*/ 2133600 h 4267200"/>
                <a:gd name="connsiteX22" fmla="*/ 2135506 w 4267200"/>
                <a:gd name="connsiteY22" fmla="*/ 2914650 h 4267200"/>
                <a:gd name="connsiteX23" fmla="*/ 2133600 w 4267200"/>
                <a:gd name="connsiteY23" fmla="*/ 2914650 h 4267200"/>
                <a:gd name="connsiteX24" fmla="*/ 2946845 w 4267200"/>
                <a:gd name="connsiteY24" fmla="*/ 1502093 h 4267200"/>
                <a:gd name="connsiteX25" fmla="*/ 2764441 w 4267200"/>
                <a:gd name="connsiteY25" fmla="*/ 1319879 h 4267200"/>
                <a:gd name="connsiteX26" fmla="*/ 2946654 w 4267200"/>
                <a:gd name="connsiteY26" fmla="*/ 1137476 h 4267200"/>
                <a:gd name="connsiteX27" fmla="*/ 3129058 w 4267200"/>
                <a:gd name="connsiteY27" fmla="*/ 1319689 h 4267200"/>
                <a:gd name="connsiteX28" fmla="*/ 3129058 w 4267200"/>
                <a:gd name="connsiteY28" fmla="*/ 1319784 h 4267200"/>
                <a:gd name="connsiteX29" fmla="*/ 2947894 w 4267200"/>
                <a:gd name="connsiteY29" fmla="*/ 1502472 h 4267200"/>
                <a:gd name="connsiteX30" fmla="*/ 2947226 w 4267200"/>
                <a:gd name="connsiteY30" fmla="*/ 1502474 h 4267200"/>
                <a:gd name="connsiteX31" fmla="*/ 3810000 w 4267200"/>
                <a:gd name="connsiteY31" fmla="*/ 0 h 4267200"/>
                <a:gd name="connsiteX32" fmla="*/ 457200 w 4267200"/>
                <a:gd name="connsiteY32" fmla="*/ 0 h 4267200"/>
                <a:gd name="connsiteX33" fmla="*/ 0 w 4267200"/>
                <a:gd name="connsiteY33" fmla="*/ 457200 h 4267200"/>
                <a:gd name="connsiteX34" fmla="*/ 0 w 4267200"/>
                <a:gd name="connsiteY34" fmla="*/ 3810000 h 4267200"/>
                <a:gd name="connsiteX35" fmla="*/ 457200 w 4267200"/>
                <a:gd name="connsiteY35" fmla="*/ 4267200 h 4267200"/>
                <a:gd name="connsiteX36" fmla="*/ 3810000 w 4267200"/>
                <a:gd name="connsiteY36" fmla="*/ 4267200 h 4267200"/>
                <a:gd name="connsiteX37" fmla="*/ 4267200 w 4267200"/>
                <a:gd name="connsiteY37" fmla="*/ 3810000 h 4267200"/>
                <a:gd name="connsiteX38" fmla="*/ 4267200 w 4267200"/>
                <a:gd name="connsiteY38" fmla="*/ 457200 h 4267200"/>
                <a:gd name="connsiteX39" fmla="*/ 3810000 w 4267200"/>
                <a:gd name="connsiteY39" fmla="*/ 0 h 4267200"/>
                <a:gd name="connsiteX40" fmla="*/ 3646932 w 4267200"/>
                <a:gd name="connsiteY40" fmla="*/ 2762250 h 4267200"/>
                <a:gd name="connsiteX41" fmla="*/ 3400711 w 4267200"/>
                <a:gd name="connsiteY41" fmla="*/ 3400425 h 4267200"/>
                <a:gd name="connsiteX42" fmla="*/ 2762536 w 4267200"/>
                <a:gd name="connsiteY42" fmla="*/ 3646646 h 4267200"/>
                <a:gd name="connsiteX43" fmla="*/ 1505236 w 4267200"/>
                <a:gd name="connsiteY43" fmla="*/ 3646646 h 4267200"/>
                <a:gd name="connsiteX44" fmla="*/ 867061 w 4267200"/>
                <a:gd name="connsiteY44" fmla="*/ 3400425 h 4267200"/>
                <a:gd name="connsiteX45" fmla="*/ 620840 w 4267200"/>
                <a:gd name="connsiteY45" fmla="*/ 2762250 h 4267200"/>
                <a:gd name="connsiteX46" fmla="*/ 620840 w 4267200"/>
                <a:gd name="connsiteY46" fmla="*/ 1504950 h 4267200"/>
                <a:gd name="connsiteX47" fmla="*/ 867061 w 4267200"/>
                <a:gd name="connsiteY47" fmla="*/ 866775 h 4267200"/>
                <a:gd name="connsiteX48" fmla="*/ 1505236 w 4267200"/>
                <a:gd name="connsiteY48" fmla="*/ 621221 h 4267200"/>
                <a:gd name="connsiteX49" fmla="*/ 2762536 w 4267200"/>
                <a:gd name="connsiteY49" fmla="*/ 621221 h 4267200"/>
                <a:gd name="connsiteX50" fmla="*/ 3400711 w 4267200"/>
                <a:gd name="connsiteY50" fmla="*/ 867442 h 4267200"/>
                <a:gd name="connsiteX51" fmla="*/ 3646932 w 4267200"/>
                <a:gd name="connsiteY51" fmla="*/ 1506093 h 4267200"/>
                <a:gd name="connsiteX52" fmla="*/ 3646932 w 4267200"/>
                <a:gd name="connsiteY52" fmla="*/ 2762250 h 426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</a:cxnLst>
              <a:rect l="l" t="t" r="r" b="b"/>
              <a:pathLst>
                <a:path w="4267200" h="4267200">
                  <a:moveTo>
                    <a:pt x="2133600" y="1625537"/>
                  </a:moveTo>
                  <a:cubicBezTo>
                    <a:pt x="1853004" y="1625642"/>
                    <a:pt x="1625622" y="1853195"/>
                    <a:pt x="1625727" y="2133791"/>
                  </a:cubicBezTo>
                  <a:cubicBezTo>
                    <a:pt x="1625832" y="2414386"/>
                    <a:pt x="1853385" y="2641769"/>
                    <a:pt x="2133981" y="2641664"/>
                  </a:cubicBezTo>
                  <a:cubicBezTo>
                    <a:pt x="2414502" y="2641558"/>
                    <a:pt x="2641854" y="2414121"/>
                    <a:pt x="2641854" y="2133600"/>
                  </a:cubicBezTo>
                  <a:cubicBezTo>
                    <a:pt x="2641644" y="1853017"/>
                    <a:pt x="2414183" y="1625642"/>
                    <a:pt x="2133600" y="1625537"/>
                  </a:cubicBezTo>
                  <a:close/>
                  <a:moveTo>
                    <a:pt x="3321463" y="1235012"/>
                  </a:moveTo>
                  <a:cubicBezTo>
                    <a:pt x="3269182" y="1102519"/>
                    <a:pt x="3164300" y="997637"/>
                    <a:pt x="3031808" y="945356"/>
                  </a:cubicBezTo>
                  <a:cubicBezTo>
                    <a:pt x="2831783" y="866394"/>
                    <a:pt x="2355533" y="884111"/>
                    <a:pt x="2133600" y="884111"/>
                  </a:cubicBezTo>
                  <a:cubicBezTo>
                    <a:pt x="1911668" y="884111"/>
                    <a:pt x="1435894" y="865727"/>
                    <a:pt x="1235297" y="945356"/>
                  </a:cubicBezTo>
                  <a:cubicBezTo>
                    <a:pt x="1102804" y="997637"/>
                    <a:pt x="997923" y="1102519"/>
                    <a:pt x="945642" y="1235012"/>
                  </a:cubicBezTo>
                  <a:cubicBezTo>
                    <a:pt x="866775" y="1435037"/>
                    <a:pt x="884396" y="1911763"/>
                    <a:pt x="884396" y="2133505"/>
                  </a:cubicBezTo>
                  <a:cubicBezTo>
                    <a:pt x="884396" y="2355247"/>
                    <a:pt x="866775" y="2831402"/>
                    <a:pt x="946023" y="3032093"/>
                  </a:cubicBezTo>
                  <a:cubicBezTo>
                    <a:pt x="998304" y="3164586"/>
                    <a:pt x="1103185" y="3269467"/>
                    <a:pt x="1235678" y="3321749"/>
                  </a:cubicBezTo>
                  <a:cubicBezTo>
                    <a:pt x="1435703" y="3400711"/>
                    <a:pt x="1911953" y="3382995"/>
                    <a:pt x="2133981" y="3382995"/>
                  </a:cubicBezTo>
                  <a:cubicBezTo>
                    <a:pt x="2356009" y="3382995"/>
                    <a:pt x="2831592" y="3401378"/>
                    <a:pt x="3032189" y="3321749"/>
                  </a:cubicBezTo>
                  <a:cubicBezTo>
                    <a:pt x="3164681" y="3269467"/>
                    <a:pt x="3269563" y="3164586"/>
                    <a:pt x="3321844" y="3032093"/>
                  </a:cubicBezTo>
                  <a:cubicBezTo>
                    <a:pt x="3401378" y="2832068"/>
                    <a:pt x="3383090" y="2355342"/>
                    <a:pt x="3383090" y="2133600"/>
                  </a:cubicBezTo>
                  <a:cubicBezTo>
                    <a:pt x="3383090" y="1911858"/>
                    <a:pt x="3401378" y="1435799"/>
                    <a:pt x="3321844" y="1235107"/>
                  </a:cubicBezTo>
                  <a:close/>
                  <a:moveTo>
                    <a:pt x="2133600" y="2914650"/>
                  </a:moveTo>
                  <a:cubicBezTo>
                    <a:pt x="1702238" y="2914650"/>
                    <a:pt x="1352550" y="2564962"/>
                    <a:pt x="1352550" y="2133600"/>
                  </a:cubicBezTo>
                  <a:cubicBezTo>
                    <a:pt x="1352550" y="1702238"/>
                    <a:pt x="1702238" y="1352550"/>
                    <a:pt x="2133600" y="1352550"/>
                  </a:cubicBezTo>
                  <a:cubicBezTo>
                    <a:pt x="2564962" y="1352550"/>
                    <a:pt x="2914650" y="1702238"/>
                    <a:pt x="2914650" y="2133600"/>
                  </a:cubicBezTo>
                  <a:cubicBezTo>
                    <a:pt x="2915177" y="2564436"/>
                    <a:pt x="2566342" y="2914124"/>
                    <a:pt x="2135506" y="2914650"/>
                  </a:cubicBezTo>
                  <a:cubicBezTo>
                    <a:pt x="2134871" y="2914651"/>
                    <a:pt x="2134236" y="2914651"/>
                    <a:pt x="2133600" y="2914650"/>
                  </a:cubicBezTo>
                  <a:close/>
                  <a:moveTo>
                    <a:pt x="2946845" y="1502093"/>
                  </a:moveTo>
                  <a:cubicBezTo>
                    <a:pt x="2846158" y="1502145"/>
                    <a:pt x="2764494" y="1420566"/>
                    <a:pt x="2764441" y="1319879"/>
                  </a:cubicBezTo>
                  <a:cubicBezTo>
                    <a:pt x="2764388" y="1219193"/>
                    <a:pt x="2845968" y="1137528"/>
                    <a:pt x="2946654" y="1137476"/>
                  </a:cubicBezTo>
                  <a:cubicBezTo>
                    <a:pt x="3047341" y="1137423"/>
                    <a:pt x="3129005" y="1219003"/>
                    <a:pt x="3129058" y="1319689"/>
                  </a:cubicBezTo>
                  <a:cubicBezTo>
                    <a:pt x="3129058" y="1319721"/>
                    <a:pt x="3129058" y="1319752"/>
                    <a:pt x="3129058" y="1319784"/>
                  </a:cubicBezTo>
                  <a:cubicBezTo>
                    <a:pt x="3129479" y="1420259"/>
                    <a:pt x="3048369" y="1502051"/>
                    <a:pt x="2947894" y="1502472"/>
                  </a:cubicBezTo>
                  <a:cubicBezTo>
                    <a:pt x="2947671" y="1502473"/>
                    <a:pt x="2947448" y="1502473"/>
                    <a:pt x="2947226" y="1502474"/>
                  </a:cubicBezTo>
                  <a:close/>
                  <a:moveTo>
                    <a:pt x="3810000" y="0"/>
                  </a:moveTo>
                  <a:lnTo>
                    <a:pt x="457200" y="0"/>
                  </a:lnTo>
                  <a:cubicBezTo>
                    <a:pt x="204695" y="0"/>
                    <a:pt x="0" y="204695"/>
                    <a:pt x="0" y="457200"/>
                  </a:cubicBezTo>
                  <a:lnTo>
                    <a:pt x="0" y="3810000"/>
                  </a:lnTo>
                  <a:cubicBezTo>
                    <a:pt x="0" y="4062505"/>
                    <a:pt x="204695" y="4267200"/>
                    <a:pt x="457200" y="4267200"/>
                  </a:cubicBezTo>
                  <a:lnTo>
                    <a:pt x="3810000" y="4267200"/>
                  </a:lnTo>
                  <a:cubicBezTo>
                    <a:pt x="4062505" y="4267200"/>
                    <a:pt x="4267200" y="4062505"/>
                    <a:pt x="4267200" y="3810000"/>
                  </a:cubicBezTo>
                  <a:lnTo>
                    <a:pt x="4267200" y="457200"/>
                  </a:lnTo>
                  <a:cubicBezTo>
                    <a:pt x="4267200" y="204695"/>
                    <a:pt x="4062505" y="0"/>
                    <a:pt x="3810000" y="0"/>
                  </a:cubicBezTo>
                  <a:close/>
                  <a:moveTo>
                    <a:pt x="3646932" y="2762250"/>
                  </a:moveTo>
                  <a:cubicBezTo>
                    <a:pt x="3634645" y="3006376"/>
                    <a:pt x="3578924" y="3222689"/>
                    <a:pt x="3400711" y="3400425"/>
                  </a:cubicBezTo>
                  <a:cubicBezTo>
                    <a:pt x="3222498" y="3578162"/>
                    <a:pt x="3006376" y="3635026"/>
                    <a:pt x="2762536" y="3646646"/>
                  </a:cubicBezTo>
                  <a:cubicBezTo>
                    <a:pt x="2510981" y="3660839"/>
                    <a:pt x="1756791" y="3660839"/>
                    <a:pt x="1505236" y="3646646"/>
                  </a:cubicBezTo>
                  <a:cubicBezTo>
                    <a:pt x="1261110" y="3634359"/>
                    <a:pt x="1045559" y="3578543"/>
                    <a:pt x="867061" y="3400425"/>
                  </a:cubicBezTo>
                  <a:cubicBezTo>
                    <a:pt x="688562" y="3222308"/>
                    <a:pt x="632460" y="3005899"/>
                    <a:pt x="620840" y="2762250"/>
                  </a:cubicBezTo>
                  <a:cubicBezTo>
                    <a:pt x="606647" y="2510599"/>
                    <a:pt x="606647" y="1756315"/>
                    <a:pt x="620840" y="1504950"/>
                  </a:cubicBezTo>
                  <a:cubicBezTo>
                    <a:pt x="633127" y="1260824"/>
                    <a:pt x="688181" y="1044512"/>
                    <a:pt x="867061" y="866775"/>
                  </a:cubicBezTo>
                  <a:cubicBezTo>
                    <a:pt x="1045940" y="689038"/>
                    <a:pt x="1262063" y="632841"/>
                    <a:pt x="1505236" y="621221"/>
                  </a:cubicBezTo>
                  <a:cubicBezTo>
                    <a:pt x="1756791" y="607028"/>
                    <a:pt x="2510981" y="607028"/>
                    <a:pt x="2762536" y="621221"/>
                  </a:cubicBezTo>
                  <a:cubicBezTo>
                    <a:pt x="3006662" y="633508"/>
                    <a:pt x="3222879" y="689324"/>
                    <a:pt x="3400711" y="867442"/>
                  </a:cubicBezTo>
                  <a:cubicBezTo>
                    <a:pt x="3578543" y="1045559"/>
                    <a:pt x="3635312" y="1261967"/>
                    <a:pt x="3646932" y="1506093"/>
                  </a:cubicBezTo>
                  <a:cubicBezTo>
                    <a:pt x="3661124" y="1756791"/>
                    <a:pt x="3661124" y="2510409"/>
                    <a:pt x="3646932" y="2762250"/>
                  </a:cubicBezTo>
                  <a:close/>
                </a:path>
              </a:pathLst>
            </a:custGeom>
            <a:solidFill>
              <a:schemeClr val="accent5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grpSp>
          <p:nvGrpSpPr>
            <p:cNvPr id="12" name="Gruppieren 33">
              <a:extLst>
                <a:ext uri="{FF2B5EF4-FFF2-40B4-BE49-F238E27FC236}">
                  <a16:creationId xmlns:a16="http://schemas.microsoft.com/office/drawing/2014/main" id="{E5C9AD29-E7F8-ACA4-D099-6392C5B0E1A4}"/>
                </a:ext>
              </a:extLst>
            </p:cNvPr>
            <p:cNvGrpSpPr>
              <a:grpSpLocks/>
            </p:cNvGrpSpPr>
            <p:nvPr/>
          </p:nvGrpSpPr>
          <p:grpSpPr>
            <a:xfrm>
              <a:off x="3203009" y="2315105"/>
              <a:ext cx="2243792" cy="1001302"/>
              <a:chOff x="3203008" y="2315105"/>
              <a:chExt cx="2577579" cy="1001302"/>
            </a:xfrm>
          </p:grpSpPr>
          <p:sp>
            <p:nvSpPr>
              <p:cNvPr id="13" name="Copy contact 2">
                <a:extLst>
                  <a:ext uri="{FF2B5EF4-FFF2-40B4-BE49-F238E27FC236}">
                    <a16:creationId xmlns:a16="http://schemas.microsoft.com/office/drawing/2014/main" id="{C39C0A26-08AB-675E-8E88-72CC0FFA6EAD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203008" y="2315105"/>
                <a:ext cx="2577579" cy="184666"/>
              </a:xfrm>
              <a:prstGeom prst="rect">
                <a:avLst/>
              </a:prstGeom>
            </p:spPr>
            <p:txBody>
              <a:bodyPr wrap="square" lIns="0" tIns="0" rIns="0" bIns="0" anchor="t" anchorCtr="0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0"/>
                  </a:spcAft>
                  <a:buClr>
                    <a:srgbClr val="41AAAA"/>
                  </a:buClr>
                  <a:buSzTx/>
                  <a:buFontTx/>
                  <a:buNone/>
                  <a:tabLst/>
                  <a:defRPr/>
                </a:pPr>
                <a:r>
                  <a:rPr kumimoji="0" lang="en-US" sz="1200" b="0" i="1" u="none" strike="noStrike" kern="0" cap="none" spc="0" normalizeH="0" baseline="0" noProof="0" err="1">
                    <a:ln>
                      <a:noFill/>
                    </a:ln>
                    <a:effectLst/>
                    <a:uLnTx/>
                    <a:uFillTx/>
                  </a:rPr>
                  <a:t>profilename</a:t>
                </a:r>
                <a:endParaRPr kumimoji="0" lang="en-US" sz="1200" b="0" i="1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</a:endParaRPr>
              </a:p>
            </p:txBody>
          </p:sp>
          <p:sp>
            <p:nvSpPr>
              <p:cNvPr id="14" name="Copy contact 2">
                <a:extLst>
                  <a:ext uri="{FF2B5EF4-FFF2-40B4-BE49-F238E27FC236}">
                    <a16:creationId xmlns:a16="http://schemas.microsoft.com/office/drawing/2014/main" id="{BF325621-78C4-BCC5-F448-C5E9A59B0920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203008" y="2587317"/>
                <a:ext cx="2577579" cy="184666"/>
              </a:xfrm>
              <a:prstGeom prst="rect">
                <a:avLst/>
              </a:prstGeom>
            </p:spPr>
            <p:txBody>
              <a:bodyPr wrap="square" lIns="0" tIns="0" rIns="0" bIns="0" anchor="t" anchorCtr="0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0"/>
                  </a:spcAft>
                  <a:buClr>
                    <a:srgbClr val="41AAAA"/>
                  </a:buClr>
                  <a:buSzTx/>
                  <a:buFontTx/>
                  <a:buNone/>
                  <a:tabLst/>
                  <a:defRPr/>
                </a:pPr>
                <a:r>
                  <a:rPr kumimoji="0" lang="en-US" sz="1200" b="0" i="1" u="none" strike="noStrike" kern="0" cap="none" spc="0" normalizeH="0" baseline="0" noProof="0" err="1">
                    <a:ln>
                      <a:noFill/>
                    </a:ln>
                    <a:effectLst/>
                    <a:uLnTx/>
                    <a:uFillTx/>
                  </a:rPr>
                  <a:t>profilename</a:t>
                </a:r>
                <a:endParaRPr kumimoji="0" lang="en-US" sz="1200" b="0" i="1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</a:endParaRPr>
              </a:p>
            </p:txBody>
          </p:sp>
          <p:sp>
            <p:nvSpPr>
              <p:cNvPr id="15" name="Copy contact 2">
                <a:extLst>
                  <a:ext uri="{FF2B5EF4-FFF2-40B4-BE49-F238E27FC236}">
                    <a16:creationId xmlns:a16="http://schemas.microsoft.com/office/drawing/2014/main" id="{AD044387-DC3B-1C54-3F7B-F16EA2D9D19C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203008" y="2859529"/>
                <a:ext cx="2577579" cy="184666"/>
              </a:xfrm>
              <a:prstGeom prst="rect">
                <a:avLst/>
              </a:prstGeom>
            </p:spPr>
            <p:txBody>
              <a:bodyPr wrap="square" lIns="0" tIns="0" rIns="0" bIns="0" anchor="t" anchorCtr="0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0"/>
                  </a:spcAft>
                  <a:buClr>
                    <a:srgbClr val="41AAAA"/>
                  </a:buClr>
                  <a:buSzTx/>
                  <a:buFontTx/>
                  <a:buNone/>
                  <a:tabLst/>
                  <a:defRPr/>
                </a:pPr>
                <a:r>
                  <a:rPr kumimoji="0" lang="en-US" sz="1200" b="0" i="1" u="none" strike="noStrike" kern="0" cap="none" spc="0" normalizeH="0" baseline="0" noProof="0" err="1">
                    <a:ln>
                      <a:noFill/>
                    </a:ln>
                    <a:effectLst/>
                    <a:uLnTx/>
                    <a:uFillTx/>
                  </a:rPr>
                  <a:t>profilename</a:t>
                </a:r>
                <a:endParaRPr kumimoji="0" lang="en-US" sz="1200" b="0" i="1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</a:endParaRPr>
              </a:p>
            </p:txBody>
          </p:sp>
          <p:sp>
            <p:nvSpPr>
              <p:cNvPr id="16" name="Copy contact 2">
                <a:extLst>
                  <a:ext uri="{FF2B5EF4-FFF2-40B4-BE49-F238E27FC236}">
                    <a16:creationId xmlns:a16="http://schemas.microsoft.com/office/drawing/2014/main" id="{110DC19D-16AA-F0C9-79A1-685A59572A3F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203008" y="3131741"/>
                <a:ext cx="2577579" cy="184666"/>
              </a:xfrm>
              <a:prstGeom prst="rect">
                <a:avLst/>
              </a:prstGeom>
            </p:spPr>
            <p:txBody>
              <a:bodyPr wrap="square" lIns="0" tIns="0" rIns="0" bIns="0" anchor="t" anchorCtr="0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0"/>
                  </a:spcAft>
                  <a:buClr>
                    <a:srgbClr val="41AAAA"/>
                  </a:buClr>
                  <a:buSzTx/>
                  <a:buFontTx/>
                  <a:buNone/>
                  <a:tabLst/>
                  <a:defRPr/>
                </a:pPr>
                <a:r>
                  <a:rPr kumimoji="0" lang="en-US" sz="1200" b="0" i="1" u="none" strike="noStrike" kern="0" cap="none" spc="0" normalizeH="0" baseline="0" noProof="0" err="1">
                    <a:ln>
                      <a:noFill/>
                    </a:ln>
                    <a:effectLst/>
                    <a:uLnTx/>
                    <a:uFillTx/>
                  </a:rPr>
                  <a:t>profilename</a:t>
                </a:r>
                <a:endParaRPr kumimoji="0" lang="en-US" sz="1200" b="0" i="1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</a:endParaRPr>
              </a:p>
            </p:txBody>
          </p:sp>
        </p:grpSp>
      </p:grpSp>
      <p:grpSp>
        <p:nvGrpSpPr>
          <p:cNvPr id="17" name="Gruppieren 35">
            <a:extLst>
              <a:ext uri="{FF2B5EF4-FFF2-40B4-BE49-F238E27FC236}">
                <a16:creationId xmlns:a16="http://schemas.microsoft.com/office/drawing/2014/main" id="{C5908CED-09BC-9A71-7AE7-B2EB17672CE7}"/>
              </a:ext>
            </a:extLst>
          </p:cNvPr>
          <p:cNvGrpSpPr>
            <a:grpSpLocks/>
          </p:cNvGrpSpPr>
          <p:nvPr/>
        </p:nvGrpSpPr>
        <p:grpSpPr>
          <a:xfrm>
            <a:off x="419099" y="3902523"/>
            <a:ext cx="5027702" cy="2160000"/>
            <a:chOff x="419099" y="1419648"/>
            <a:chExt cx="5027702" cy="2160000"/>
          </a:xfrm>
        </p:grpSpPr>
        <p:sp>
          <p:nvSpPr>
            <p:cNvPr id="18" name="Copy contact 1">
              <a:extLst>
                <a:ext uri="{FF2B5EF4-FFF2-40B4-BE49-F238E27FC236}">
                  <a16:creationId xmlns:a16="http://schemas.microsoft.com/office/drawing/2014/main" id="{3CEC96C8-A1B8-E367-90C5-216E4E3537AA}"/>
                </a:ext>
              </a:extLst>
            </p:cNvPr>
            <p:cNvSpPr>
              <a:spLocks/>
            </p:cNvSpPr>
            <p:nvPr/>
          </p:nvSpPr>
          <p:spPr bwMode="gray">
            <a:xfrm>
              <a:off x="2869221" y="1419648"/>
              <a:ext cx="2577579" cy="492443"/>
            </a:xfrm>
            <a:prstGeom prst="rect">
              <a:avLst/>
            </a:prstGeom>
          </p:spPr>
          <p:txBody>
            <a:bodyPr wrap="square" lIns="0" tIns="0" rIns="0" bIns="0" anchor="t" anchorCtr="0">
              <a:spAutoFit/>
            </a:bodyPr>
            <a:lstStyle/>
            <a:p>
              <a:pPr marL="0" marR="0" lvl="0" indent="0" defTabSz="91394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879BAA">
                    <a:lumMod val="100000"/>
                  </a:srgbClr>
                </a:buClr>
                <a:buSzPct val="100000"/>
                <a:buFontTx/>
                <a:buNone/>
                <a:tabLst/>
                <a:defRPr/>
              </a:pPr>
              <a:r>
                <a:rPr kumimoji="0" lang="en-US" sz="2000" i="0" u="none" strike="noStrike" kern="0" cap="none" spc="0" normalizeH="0" baseline="0" noProof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ea typeface="Arial Unicode MS" panose="020B0604020202020204" pitchFamily="34" charset="-128"/>
                </a:rPr>
                <a:t>Name Surname</a:t>
              </a:r>
            </a:p>
            <a:p>
              <a:pPr defTabSz="913943">
                <a:spcAft>
                  <a:spcPts val="2400"/>
                </a:spcAft>
                <a:buClr>
                  <a:srgbClr val="879BAA">
                    <a:lumMod val="100000"/>
                  </a:srgbClr>
                </a:buClr>
                <a:buSzPct val="100000"/>
                <a:defRPr/>
              </a:pPr>
              <a:r>
                <a:rPr lang="en-US" sz="1200" b="1" kern="0">
                  <a:solidFill>
                    <a:schemeClr val="accent1"/>
                  </a:solidFill>
                  <a:ea typeface="Arial Unicode MS" panose="020B0604020202020204" pitchFamily="34" charset="-128"/>
                </a:rPr>
                <a:t>Position lorem ipsum</a:t>
              </a:r>
            </a:p>
          </p:txBody>
        </p:sp>
        <p:sp>
          <p:nvSpPr>
            <p:cNvPr id="19" name="Rectangle 90">
              <a:extLst>
                <a:ext uri="{FF2B5EF4-FFF2-40B4-BE49-F238E27FC236}">
                  <a16:creationId xmlns:a16="http://schemas.microsoft.com/office/drawing/2014/main" id="{4F8520C0-EEC3-4A93-AC32-61DBD320B9FD}"/>
                </a:ext>
              </a:extLst>
            </p:cNvPr>
            <p:cNvSpPr>
              <a:spLocks/>
            </p:cNvSpPr>
            <p:nvPr/>
          </p:nvSpPr>
          <p:spPr bwMode="auto">
            <a:xfrm>
              <a:off x="419099" y="1419648"/>
              <a:ext cx="2160000" cy="2160000"/>
            </a:xfrm>
            <a:prstGeom prst="teardrop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cap="all" spc="100">
                  <a:solidFill>
                    <a:schemeClr val="accent5"/>
                  </a:solidFill>
                </a:rPr>
                <a:t>Image</a:t>
              </a:r>
            </a:p>
          </p:txBody>
        </p:sp>
        <p:sp>
          <p:nvSpPr>
            <p:cNvPr id="20" name="Grafik 5">
              <a:extLst>
                <a:ext uri="{FF2B5EF4-FFF2-40B4-BE49-F238E27FC236}">
                  <a16:creationId xmlns:a16="http://schemas.microsoft.com/office/drawing/2014/main" id="{D9F00E48-9773-413D-2F6E-EBC1CF264E09}"/>
                </a:ext>
              </a:extLst>
            </p:cNvPr>
            <p:cNvSpPr>
              <a:spLocks/>
            </p:cNvSpPr>
            <p:nvPr/>
          </p:nvSpPr>
          <p:spPr>
            <a:xfrm>
              <a:off x="2869221" y="2571248"/>
              <a:ext cx="216805" cy="216805"/>
            </a:xfrm>
            <a:custGeom>
              <a:avLst/>
              <a:gdLst>
                <a:gd name="connsiteX0" fmla="*/ 3962400 w 4267200"/>
                <a:gd name="connsiteY0" fmla="*/ 0 h 4267200"/>
                <a:gd name="connsiteX1" fmla="*/ 303848 w 4267200"/>
                <a:gd name="connsiteY1" fmla="*/ 0 h 4267200"/>
                <a:gd name="connsiteX2" fmla="*/ 0 w 4267200"/>
                <a:gd name="connsiteY2" fmla="*/ 307658 h 4267200"/>
                <a:gd name="connsiteX3" fmla="*/ 0 w 4267200"/>
                <a:gd name="connsiteY3" fmla="*/ 3959543 h 4267200"/>
                <a:gd name="connsiteX4" fmla="*/ 303848 w 4267200"/>
                <a:gd name="connsiteY4" fmla="*/ 4267200 h 4267200"/>
                <a:gd name="connsiteX5" fmla="*/ 3962400 w 4267200"/>
                <a:gd name="connsiteY5" fmla="*/ 4267200 h 4267200"/>
                <a:gd name="connsiteX6" fmla="*/ 4267200 w 4267200"/>
                <a:gd name="connsiteY6" fmla="*/ 3959543 h 4267200"/>
                <a:gd name="connsiteX7" fmla="*/ 4267200 w 4267200"/>
                <a:gd name="connsiteY7" fmla="*/ 307658 h 4267200"/>
                <a:gd name="connsiteX8" fmla="*/ 3962400 w 4267200"/>
                <a:gd name="connsiteY8" fmla="*/ 0 h 4267200"/>
                <a:gd name="connsiteX9" fmla="*/ 1289685 w 4267200"/>
                <a:gd name="connsiteY9" fmla="*/ 3657600 h 4267200"/>
                <a:gd name="connsiteX10" fmla="*/ 657225 w 4267200"/>
                <a:gd name="connsiteY10" fmla="*/ 3657600 h 4267200"/>
                <a:gd name="connsiteX11" fmla="*/ 657225 w 4267200"/>
                <a:gd name="connsiteY11" fmla="*/ 1621155 h 4267200"/>
                <a:gd name="connsiteX12" fmla="*/ 1290638 w 4267200"/>
                <a:gd name="connsiteY12" fmla="*/ 1621155 h 4267200"/>
                <a:gd name="connsiteX13" fmla="*/ 1290638 w 4267200"/>
                <a:gd name="connsiteY13" fmla="*/ 3657600 h 4267200"/>
                <a:gd name="connsiteX14" fmla="*/ 973455 w 4267200"/>
                <a:gd name="connsiteY14" fmla="*/ 1343025 h 4267200"/>
                <a:gd name="connsiteX15" fmla="*/ 606743 w 4267200"/>
                <a:gd name="connsiteY15" fmla="*/ 976313 h 4267200"/>
                <a:gd name="connsiteX16" fmla="*/ 973455 w 4267200"/>
                <a:gd name="connsiteY16" fmla="*/ 609600 h 4267200"/>
                <a:gd name="connsiteX17" fmla="*/ 1340168 w 4267200"/>
                <a:gd name="connsiteY17" fmla="*/ 976313 h 4267200"/>
                <a:gd name="connsiteX18" fmla="*/ 973455 w 4267200"/>
                <a:gd name="connsiteY18" fmla="*/ 1343025 h 4267200"/>
                <a:gd name="connsiteX19" fmla="*/ 3660458 w 4267200"/>
                <a:gd name="connsiteY19" fmla="*/ 3657600 h 4267200"/>
                <a:gd name="connsiteX20" fmla="*/ 3027998 w 4267200"/>
                <a:gd name="connsiteY20" fmla="*/ 3657600 h 4267200"/>
                <a:gd name="connsiteX21" fmla="*/ 3027998 w 4267200"/>
                <a:gd name="connsiteY21" fmla="*/ 2667000 h 4267200"/>
                <a:gd name="connsiteX22" fmla="*/ 2699385 w 4267200"/>
                <a:gd name="connsiteY22" fmla="*/ 2126933 h 4267200"/>
                <a:gd name="connsiteX23" fmla="*/ 2319338 w 4267200"/>
                <a:gd name="connsiteY23" fmla="*/ 2649855 h 4267200"/>
                <a:gd name="connsiteX24" fmla="*/ 2319338 w 4267200"/>
                <a:gd name="connsiteY24" fmla="*/ 3657600 h 4267200"/>
                <a:gd name="connsiteX25" fmla="*/ 1686878 w 4267200"/>
                <a:gd name="connsiteY25" fmla="*/ 3657600 h 4267200"/>
                <a:gd name="connsiteX26" fmla="*/ 1686878 w 4267200"/>
                <a:gd name="connsiteY26" fmla="*/ 1621155 h 4267200"/>
                <a:gd name="connsiteX27" fmla="*/ 2293620 w 4267200"/>
                <a:gd name="connsiteY27" fmla="*/ 1621155 h 4267200"/>
                <a:gd name="connsiteX28" fmla="*/ 2293620 w 4267200"/>
                <a:gd name="connsiteY28" fmla="*/ 1899285 h 4267200"/>
                <a:gd name="connsiteX29" fmla="*/ 2302193 w 4267200"/>
                <a:gd name="connsiteY29" fmla="*/ 1899285 h 4267200"/>
                <a:gd name="connsiteX30" fmla="*/ 2901315 w 4267200"/>
                <a:gd name="connsiteY30" fmla="*/ 1570673 h 4267200"/>
                <a:gd name="connsiteX31" fmla="*/ 3660458 w 4267200"/>
                <a:gd name="connsiteY31" fmla="*/ 2541270 h 4267200"/>
                <a:gd name="connsiteX32" fmla="*/ 3660458 w 4267200"/>
                <a:gd name="connsiteY32" fmla="*/ 3657600 h 426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4267200" h="4267200">
                  <a:moveTo>
                    <a:pt x="3962400" y="0"/>
                  </a:moveTo>
                  <a:lnTo>
                    <a:pt x="303848" y="0"/>
                  </a:lnTo>
                  <a:cubicBezTo>
                    <a:pt x="136208" y="0"/>
                    <a:pt x="0" y="138113"/>
                    <a:pt x="0" y="307658"/>
                  </a:cubicBezTo>
                  <a:lnTo>
                    <a:pt x="0" y="3959543"/>
                  </a:lnTo>
                  <a:cubicBezTo>
                    <a:pt x="0" y="4129088"/>
                    <a:pt x="136208" y="4267200"/>
                    <a:pt x="303848" y="4267200"/>
                  </a:cubicBezTo>
                  <a:lnTo>
                    <a:pt x="3962400" y="4267200"/>
                  </a:lnTo>
                  <a:cubicBezTo>
                    <a:pt x="4130040" y="4267200"/>
                    <a:pt x="4267200" y="4129088"/>
                    <a:pt x="4267200" y="3959543"/>
                  </a:cubicBezTo>
                  <a:lnTo>
                    <a:pt x="4267200" y="307658"/>
                  </a:lnTo>
                  <a:cubicBezTo>
                    <a:pt x="4267200" y="138113"/>
                    <a:pt x="4130040" y="0"/>
                    <a:pt x="3962400" y="0"/>
                  </a:cubicBezTo>
                  <a:close/>
                  <a:moveTo>
                    <a:pt x="1289685" y="3657600"/>
                  </a:moveTo>
                  <a:lnTo>
                    <a:pt x="657225" y="3657600"/>
                  </a:lnTo>
                  <a:lnTo>
                    <a:pt x="657225" y="1621155"/>
                  </a:lnTo>
                  <a:lnTo>
                    <a:pt x="1290638" y="1621155"/>
                  </a:lnTo>
                  <a:lnTo>
                    <a:pt x="1290638" y="3657600"/>
                  </a:lnTo>
                  <a:close/>
                  <a:moveTo>
                    <a:pt x="973455" y="1343025"/>
                  </a:moveTo>
                  <a:cubicBezTo>
                    <a:pt x="770573" y="1343025"/>
                    <a:pt x="606743" y="1178243"/>
                    <a:pt x="606743" y="976313"/>
                  </a:cubicBezTo>
                  <a:cubicBezTo>
                    <a:pt x="606743" y="774383"/>
                    <a:pt x="770573" y="609600"/>
                    <a:pt x="973455" y="609600"/>
                  </a:cubicBezTo>
                  <a:cubicBezTo>
                    <a:pt x="1175385" y="609600"/>
                    <a:pt x="1340168" y="774383"/>
                    <a:pt x="1340168" y="976313"/>
                  </a:cubicBezTo>
                  <a:cubicBezTo>
                    <a:pt x="1340168" y="1179195"/>
                    <a:pt x="1176338" y="1343025"/>
                    <a:pt x="973455" y="1343025"/>
                  </a:cubicBezTo>
                  <a:close/>
                  <a:moveTo>
                    <a:pt x="3660458" y="3657600"/>
                  </a:moveTo>
                  <a:lnTo>
                    <a:pt x="3027998" y="3657600"/>
                  </a:lnTo>
                  <a:lnTo>
                    <a:pt x="3027998" y="2667000"/>
                  </a:lnTo>
                  <a:cubicBezTo>
                    <a:pt x="3027998" y="2430780"/>
                    <a:pt x="3023235" y="2126933"/>
                    <a:pt x="2699385" y="2126933"/>
                  </a:cubicBezTo>
                  <a:cubicBezTo>
                    <a:pt x="2369820" y="2126933"/>
                    <a:pt x="2319338" y="2384108"/>
                    <a:pt x="2319338" y="2649855"/>
                  </a:cubicBezTo>
                  <a:lnTo>
                    <a:pt x="2319338" y="3657600"/>
                  </a:lnTo>
                  <a:lnTo>
                    <a:pt x="1686878" y="3657600"/>
                  </a:lnTo>
                  <a:lnTo>
                    <a:pt x="1686878" y="1621155"/>
                  </a:lnTo>
                  <a:lnTo>
                    <a:pt x="2293620" y="1621155"/>
                  </a:lnTo>
                  <a:lnTo>
                    <a:pt x="2293620" y="1899285"/>
                  </a:lnTo>
                  <a:lnTo>
                    <a:pt x="2302193" y="1899285"/>
                  </a:lnTo>
                  <a:cubicBezTo>
                    <a:pt x="2386965" y="1739265"/>
                    <a:pt x="2593658" y="1570673"/>
                    <a:pt x="2901315" y="1570673"/>
                  </a:cubicBezTo>
                  <a:cubicBezTo>
                    <a:pt x="3541395" y="1570673"/>
                    <a:pt x="3660458" y="1992630"/>
                    <a:pt x="3660458" y="2541270"/>
                  </a:cubicBezTo>
                  <a:lnTo>
                    <a:pt x="3660458" y="3657600"/>
                  </a:lnTo>
                  <a:close/>
                </a:path>
              </a:pathLst>
            </a:custGeom>
            <a:solidFill>
              <a:schemeClr val="accent5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" name="Grafik 18">
              <a:extLst>
                <a:ext uri="{FF2B5EF4-FFF2-40B4-BE49-F238E27FC236}">
                  <a16:creationId xmlns:a16="http://schemas.microsoft.com/office/drawing/2014/main" id="{D931BE15-3B3B-588F-23F0-C4410930C06A}"/>
                </a:ext>
              </a:extLst>
            </p:cNvPr>
            <p:cNvSpPr>
              <a:spLocks/>
            </p:cNvSpPr>
            <p:nvPr/>
          </p:nvSpPr>
          <p:spPr>
            <a:xfrm>
              <a:off x="2869221" y="3115675"/>
              <a:ext cx="216805" cy="216805"/>
            </a:xfrm>
            <a:custGeom>
              <a:avLst/>
              <a:gdLst>
                <a:gd name="connsiteX0" fmla="*/ 3810000 w 4267200"/>
                <a:gd name="connsiteY0" fmla="*/ 0 h 4267200"/>
                <a:gd name="connsiteX1" fmla="*/ 457200 w 4267200"/>
                <a:gd name="connsiteY1" fmla="*/ 0 h 4267200"/>
                <a:gd name="connsiteX2" fmla="*/ 0 w 4267200"/>
                <a:gd name="connsiteY2" fmla="*/ 457200 h 4267200"/>
                <a:gd name="connsiteX3" fmla="*/ 0 w 4267200"/>
                <a:gd name="connsiteY3" fmla="*/ 3810000 h 4267200"/>
                <a:gd name="connsiteX4" fmla="*/ 457200 w 4267200"/>
                <a:gd name="connsiteY4" fmla="*/ 4267200 h 4267200"/>
                <a:gd name="connsiteX5" fmla="*/ 1764506 w 4267200"/>
                <a:gd name="connsiteY5" fmla="*/ 4267200 h 4267200"/>
                <a:gd name="connsiteX6" fmla="*/ 1764506 w 4267200"/>
                <a:gd name="connsiteY6" fmla="*/ 2816447 h 4267200"/>
                <a:gd name="connsiteX7" fmla="*/ 1164431 w 4267200"/>
                <a:gd name="connsiteY7" fmla="*/ 2816447 h 4267200"/>
                <a:gd name="connsiteX8" fmla="*/ 1164431 w 4267200"/>
                <a:gd name="connsiteY8" fmla="*/ 2133600 h 4267200"/>
                <a:gd name="connsiteX9" fmla="*/ 1764506 w 4267200"/>
                <a:gd name="connsiteY9" fmla="*/ 2133600 h 4267200"/>
                <a:gd name="connsiteX10" fmla="*/ 1764506 w 4267200"/>
                <a:gd name="connsiteY10" fmla="*/ 1613154 h 4267200"/>
                <a:gd name="connsiteX11" fmla="*/ 2656713 w 4267200"/>
                <a:gd name="connsiteY11" fmla="*/ 694182 h 4267200"/>
                <a:gd name="connsiteX12" fmla="*/ 3185541 w 4267200"/>
                <a:gd name="connsiteY12" fmla="*/ 740283 h 4267200"/>
                <a:gd name="connsiteX13" fmla="*/ 3185541 w 4267200"/>
                <a:gd name="connsiteY13" fmla="*/ 1321308 h 4267200"/>
                <a:gd name="connsiteX14" fmla="*/ 2887695 w 4267200"/>
                <a:gd name="connsiteY14" fmla="*/ 1321308 h 4267200"/>
                <a:gd name="connsiteX15" fmla="*/ 2502694 w 4267200"/>
                <a:gd name="connsiteY15" fmla="*/ 1690211 h 4267200"/>
                <a:gd name="connsiteX16" fmla="*/ 2502694 w 4267200"/>
                <a:gd name="connsiteY16" fmla="*/ 2133600 h 4267200"/>
                <a:gd name="connsiteX17" fmla="*/ 3157823 w 4267200"/>
                <a:gd name="connsiteY17" fmla="*/ 2133600 h 4267200"/>
                <a:gd name="connsiteX18" fmla="*/ 3053048 w 4267200"/>
                <a:gd name="connsiteY18" fmla="*/ 2816447 h 4267200"/>
                <a:gd name="connsiteX19" fmla="*/ 2502694 w 4267200"/>
                <a:gd name="connsiteY19" fmla="*/ 2816447 h 4267200"/>
                <a:gd name="connsiteX20" fmla="*/ 2502694 w 4267200"/>
                <a:gd name="connsiteY20" fmla="*/ 4267200 h 4267200"/>
                <a:gd name="connsiteX21" fmla="*/ 3810000 w 4267200"/>
                <a:gd name="connsiteY21" fmla="*/ 4267200 h 4267200"/>
                <a:gd name="connsiteX22" fmla="*/ 4267200 w 4267200"/>
                <a:gd name="connsiteY22" fmla="*/ 3810000 h 4267200"/>
                <a:gd name="connsiteX23" fmla="*/ 4267200 w 4267200"/>
                <a:gd name="connsiteY23" fmla="*/ 457200 h 4267200"/>
                <a:gd name="connsiteX24" fmla="*/ 3810000 w 4267200"/>
                <a:gd name="connsiteY24" fmla="*/ 0 h 426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4267200" h="4267200">
                  <a:moveTo>
                    <a:pt x="3810000" y="0"/>
                  </a:moveTo>
                  <a:lnTo>
                    <a:pt x="457200" y="0"/>
                  </a:lnTo>
                  <a:cubicBezTo>
                    <a:pt x="204695" y="0"/>
                    <a:pt x="0" y="204695"/>
                    <a:pt x="0" y="457200"/>
                  </a:cubicBezTo>
                  <a:lnTo>
                    <a:pt x="0" y="3810000"/>
                  </a:lnTo>
                  <a:cubicBezTo>
                    <a:pt x="0" y="4062505"/>
                    <a:pt x="204695" y="4267200"/>
                    <a:pt x="457200" y="4267200"/>
                  </a:cubicBezTo>
                  <a:lnTo>
                    <a:pt x="1764506" y="4267200"/>
                  </a:lnTo>
                  <a:lnTo>
                    <a:pt x="1764506" y="2816447"/>
                  </a:lnTo>
                  <a:lnTo>
                    <a:pt x="1164431" y="2816447"/>
                  </a:lnTo>
                  <a:lnTo>
                    <a:pt x="1164431" y="2133600"/>
                  </a:lnTo>
                  <a:lnTo>
                    <a:pt x="1764506" y="2133600"/>
                  </a:lnTo>
                  <a:lnTo>
                    <a:pt x="1764506" y="1613154"/>
                  </a:lnTo>
                  <a:cubicBezTo>
                    <a:pt x="1764506" y="1021175"/>
                    <a:pt x="2116931" y="694182"/>
                    <a:pt x="2656713" y="694182"/>
                  </a:cubicBezTo>
                  <a:cubicBezTo>
                    <a:pt x="2915222" y="694182"/>
                    <a:pt x="3185541" y="740283"/>
                    <a:pt x="3185541" y="740283"/>
                  </a:cubicBezTo>
                  <a:lnTo>
                    <a:pt x="3185541" y="1321308"/>
                  </a:lnTo>
                  <a:lnTo>
                    <a:pt x="2887695" y="1321308"/>
                  </a:lnTo>
                  <a:cubicBezTo>
                    <a:pt x="2594229" y="1321308"/>
                    <a:pt x="2502694" y="1503426"/>
                    <a:pt x="2502694" y="1690211"/>
                  </a:cubicBezTo>
                  <a:lnTo>
                    <a:pt x="2502694" y="2133600"/>
                  </a:lnTo>
                  <a:lnTo>
                    <a:pt x="3157823" y="2133600"/>
                  </a:lnTo>
                  <a:lnTo>
                    <a:pt x="3053048" y="2816447"/>
                  </a:lnTo>
                  <a:lnTo>
                    <a:pt x="2502694" y="2816447"/>
                  </a:lnTo>
                  <a:lnTo>
                    <a:pt x="2502694" y="4267200"/>
                  </a:lnTo>
                  <a:lnTo>
                    <a:pt x="3810000" y="4267200"/>
                  </a:lnTo>
                  <a:cubicBezTo>
                    <a:pt x="4062505" y="4267200"/>
                    <a:pt x="4267200" y="4062505"/>
                    <a:pt x="4267200" y="3810000"/>
                  </a:cubicBezTo>
                  <a:lnTo>
                    <a:pt x="4267200" y="457200"/>
                  </a:lnTo>
                  <a:cubicBezTo>
                    <a:pt x="4267200" y="204695"/>
                    <a:pt x="4062505" y="0"/>
                    <a:pt x="3810000" y="0"/>
                  </a:cubicBezTo>
                  <a:close/>
                </a:path>
              </a:pathLst>
            </a:custGeom>
            <a:solidFill>
              <a:schemeClr val="accent5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" name="Grafik 21">
              <a:extLst>
                <a:ext uri="{FF2B5EF4-FFF2-40B4-BE49-F238E27FC236}">
                  <a16:creationId xmlns:a16="http://schemas.microsoft.com/office/drawing/2014/main" id="{900B45DF-17BE-699C-D0A5-A1DC987E5120}"/>
                </a:ext>
              </a:extLst>
            </p:cNvPr>
            <p:cNvSpPr>
              <a:spLocks/>
            </p:cNvSpPr>
            <p:nvPr/>
          </p:nvSpPr>
          <p:spPr>
            <a:xfrm>
              <a:off x="2869221" y="2299035"/>
              <a:ext cx="216805" cy="216805"/>
            </a:xfrm>
            <a:custGeom>
              <a:avLst/>
              <a:gdLst>
                <a:gd name="connsiteX0" fmla="*/ 3810000 w 4267200"/>
                <a:gd name="connsiteY0" fmla="*/ 0 h 4267200"/>
                <a:gd name="connsiteX1" fmla="*/ 457200 w 4267200"/>
                <a:gd name="connsiteY1" fmla="*/ 0 h 4267200"/>
                <a:gd name="connsiteX2" fmla="*/ 0 w 4267200"/>
                <a:gd name="connsiteY2" fmla="*/ 457200 h 4267200"/>
                <a:gd name="connsiteX3" fmla="*/ 0 w 4267200"/>
                <a:gd name="connsiteY3" fmla="*/ 3810000 h 4267200"/>
                <a:gd name="connsiteX4" fmla="*/ 457200 w 4267200"/>
                <a:gd name="connsiteY4" fmla="*/ 4267200 h 4267200"/>
                <a:gd name="connsiteX5" fmla="*/ 3810000 w 4267200"/>
                <a:gd name="connsiteY5" fmla="*/ 4267200 h 4267200"/>
                <a:gd name="connsiteX6" fmla="*/ 4267200 w 4267200"/>
                <a:gd name="connsiteY6" fmla="*/ 3810000 h 4267200"/>
                <a:gd name="connsiteX7" fmla="*/ 4267200 w 4267200"/>
                <a:gd name="connsiteY7" fmla="*/ 457200 h 4267200"/>
                <a:gd name="connsiteX8" fmla="*/ 3810000 w 4267200"/>
                <a:gd name="connsiteY8" fmla="*/ 0 h 4267200"/>
                <a:gd name="connsiteX9" fmla="*/ 3344228 w 4267200"/>
                <a:gd name="connsiteY9" fmla="*/ 1512570 h 4267200"/>
                <a:gd name="connsiteX10" fmla="*/ 3346133 w 4267200"/>
                <a:gd name="connsiteY10" fmla="*/ 1593533 h 4267200"/>
                <a:gd name="connsiteX11" fmla="*/ 1568768 w 4267200"/>
                <a:gd name="connsiteY11" fmla="*/ 3370898 h 4267200"/>
                <a:gd name="connsiteX12" fmla="*/ 609600 w 4267200"/>
                <a:gd name="connsiteY12" fmla="*/ 3090863 h 4267200"/>
                <a:gd name="connsiteX13" fmla="*/ 760095 w 4267200"/>
                <a:gd name="connsiteY13" fmla="*/ 3098483 h 4267200"/>
                <a:gd name="connsiteX14" fmla="*/ 1535430 w 4267200"/>
                <a:gd name="connsiteY14" fmla="*/ 2831783 h 4267200"/>
                <a:gd name="connsiteX15" fmla="*/ 951548 w 4267200"/>
                <a:gd name="connsiteY15" fmla="*/ 2398395 h 4267200"/>
                <a:gd name="connsiteX16" fmla="*/ 1233488 w 4267200"/>
                <a:gd name="connsiteY16" fmla="*/ 2386965 h 4267200"/>
                <a:gd name="connsiteX17" fmla="*/ 733425 w 4267200"/>
                <a:gd name="connsiteY17" fmla="*/ 1773555 h 4267200"/>
                <a:gd name="connsiteX18" fmla="*/ 733425 w 4267200"/>
                <a:gd name="connsiteY18" fmla="*/ 1765935 h 4267200"/>
                <a:gd name="connsiteX19" fmla="*/ 1015365 w 4267200"/>
                <a:gd name="connsiteY19" fmla="*/ 1844993 h 4267200"/>
                <a:gd name="connsiteX20" fmla="*/ 737235 w 4267200"/>
                <a:gd name="connsiteY20" fmla="*/ 1324927 h 4267200"/>
                <a:gd name="connsiteX21" fmla="*/ 822008 w 4267200"/>
                <a:gd name="connsiteY21" fmla="*/ 1009650 h 4267200"/>
                <a:gd name="connsiteX22" fmla="*/ 2109788 w 4267200"/>
                <a:gd name="connsiteY22" fmla="*/ 1663065 h 4267200"/>
                <a:gd name="connsiteX23" fmla="*/ 2719388 w 4267200"/>
                <a:gd name="connsiteY23" fmla="*/ 895350 h 4267200"/>
                <a:gd name="connsiteX24" fmla="*/ 3175635 w 4267200"/>
                <a:gd name="connsiteY24" fmla="*/ 1092518 h 4267200"/>
                <a:gd name="connsiteX25" fmla="*/ 3571875 w 4267200"/>
                <a:gd name="connsiteY25" fmla="*/ 942022 h 4267200"/>
                <a:gd name="connsiteX26" fmla="*/ 3297555 w 4267200"/>
                <a:gd name="connsiteY26" fmla="*/ 1285875 h 4267200"/>
                <a:gd name="connsiteX27" fmla="*/ 3657600 w 4267200"/>
                <a:gd name="connsiteY27" fmla="*/ 1188720 h 4267200"/>
                <a:gd name="connsiteX28" fmla="*/ 3344228 w 4267200"/>
                <a:gd name="connsiteY28" fmla="*/ 1512570 h 426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4267200" h="4267200">
                  <a:moveTo>
                    <a:pt x="3810000" y="0"/>
                  </a:moveTo>
                  <a:lnTo>
                    <a:pt x="457200" y="0"/>
                  </a:lnTo>
                  <a:cubicBezTo>
                    <a:pt x="204788" y="0"/>
                    <a:pt x="0" y="204788"/>
                    <a:pt x="0" y="457200"/>
                  </a:cubicBezTo>
                  <a:lnTo>
                    <a:pt x="0" y="3810000"/>
                  </a:lnTo>
                  <a:cubicBezTo>
                    <a:pt x="0" y="4062413"/>
                    <a:pt x="204788" y="4267200"/>
                    <a:pt x="457200" y="4267200"/>
                  </a:cubicBezTo>
                  <a:lnTo>
                    <a:pt x="3810000" y="4267200"/>
                  </a:lnTo>
                  <a:cubicBezTo>
                    <a:pt x="4062413" y="4267200"/>
                    <a:pt x="4267200" y="4062413"/>
                    <a:pt x="4267200" y="3810000"/>
                  </a:cubicBezTo>
                  <a:lnTo>
                    <a:pt x="4267200" y="457200"/>
                  </a:lnTo>
                  <a:cubicBezTo>
                    <a:pt x="4267200" y="204788"/>
                    <a:pt x="4062413" y="0"/>
                    <a:pt x="3810000" y="0"/>
                  </a:cubicBezTo>
                  <a:close/>
                  <a:moveTo>
                    <a:pt x="3344228" y="1512570"/>
                  </a:moveTo>
                  <a:cubicBezTo>
                    <a:pt x="3346133" y="1539240"/>
                    <a:pt x="3346133" y="1566863"/>
                    <a:pt x="3346133" y="1593533"/>
                  </a:cubicBezTo>
                  <a:cubicBezTo>
                    <a:pt x="3346133" y="2419350"/>
                    <a:pt x="2717483" y="3370898"/>
                    <a:pt x="1568768" y="3370898"/>
                  </a:cubicBezTo>
                  <a:cubicBezTo>
                    <a:pt x="1214438" y="3370898"/>
                    <a:pt x="885825" y="3268028"/>
                    <a:pt x="609600" y="3090863"/>
                  </a:cubicBezTo>
                  <a:cubicBezTo>
                    <a:pt x="660083" y="3096578"/>
                    <a:pt x="708660" y="3098483"/>
                    <a:pt x="760095" y="3098483"/>
                  </a:cubicBezTo>
                  <a:cubicBezTo>
                    <a:pt x="1052513" y="3098483"/>
                    <a:pt x="1321118" y="2999423"/>
                    <a:pt x="1535430" y="2831783"/>
                  </a:cubicBezTo>
                  <a:cubicBezTo>
                    <a:pt x="1261110" y="2826068"/>
                    <a:pt x="1030605" y="2646045"/>
                    <a:pt x="951548" y="2398395"/>
                  </a:cubicBezTo>
                  <a:cubicBezTo>
                    <a:pt x="1047750" y="2412683"/>
                    <a:pt x="1134428" y="2412683"/>
                    <a:pt x="1233488" y="2386965"/>
                  </a:cubicBezTo>
                  <a:cubicBezTo>
                    <a:pt x="947738" y="2328863"/>
                    <a:pt x="733425" y="2077403"/>
                    <a:pt x="733425" y="1773555"/>
                  </a:cubicBezTo>
                  <a:lnTo>
                    <a:pt x="733425" y="1765935"/>
                  </a:lnTo>
                  <a:cubicBezTo>
                    <a:pt x="816293" y="1812608"/>
                    <a:pt x="913448" y="1841183"/>
                    <a:pt x="1015365" y="1844993"/>
                  </a:cubicBezTo>
                  <a:cubicBezTo>
                    <a:pt x="841329" y="1729229"/>
                    <a:pt x="736893" y="1533948"/>
                    <a:pt x="737235" y="1324927"/>
                  </a:cubicBezTo>
                  <a:cubicBezTo>
                    <a:pt x="737235" y="1208723"/>
                    <a:pt x="767715" y="1102043"/>
                    <a:pt x="822008" y="1009650"/>
                  </a:cubicBezTo>
                  <a:cubicBezTo>
                    <a:pt x="1129665" y="1388745"/>
                    <a:pt x="1591628" y="1636395"/>
                    <a:pt x="2109788" y="1663065"/>
                  </a:cubicBezTo>
                  <a:cubicBezTo>
                    <a:pt x="2021205" y="1239203"/>
                    <a:pt x="2338388" y="895350"/>
                    <a:pt x="2719388" y="895350"/>
                  </a:cubicBezTo>
                  <a:cubicBezTo>
                    <a:pt x="2899410" y="895350"/>
                    <a:pt x="3061335" y="970597"/>
                    <a:pt x="3175635" y="1092518"/>
                  </a:cubicBezTo>
                  <a:cubicBezTo>
                    <a:pt x="3316605" y="1065848"/>
                    <a:pt x="3451860" y="1013460"/>
                    <a:pt x="3571875" y="942022"/>
                  </a:cubicBezTo>
                  <a:cubicBezTo>
                    <a:pt x="3525203" y="1086803"/>
                    <a:pt x="3427095" y="1208723"/>
                    <a:pt x="3297555" y="1285875"/>
                  </a:cubicBezTo>
                  <a:cubicBezTo>
                    <a:pt x="3423285" y="1272540"/>
                    <a:pt x="3545205" y="1237298"/>
                    <a:pt x="3657600" y="1188720"/>
                  </a:cubicBezTo>
                  <a:cubicBezTo>
                    <a:pt x="3572828" y="1313498"/>
                    <a:pt x="3466148" y="1423988"/>
                    <a:pt x="3344228" y="1512570"/>
                  </a:cubicBezTo>
                  <a:close/>
                </a:path>
              </a:pathLst>
            </a:custGeom>
            <a:solidFill>
              <a:schemeClr val="accent5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3" name="Grafik 27">
              <a:extLst>
                <a:ext uri="{FF2B5EF4-FFF2-40B4-BE49-F238E27FC236}">
                  <a16:creationId xmlns:a16="http://schemas.microsoft.com/office/drawing/2014/main" id="{43720D4C-4792-86BB-BBB5-47B53E66BF9E}"/>
                </a:ext>
              </a:extLst>
            </p:cNvPr>
            <p:cNvSpPr>
              <a:spLocks/>
            </p:cNvSpPr>
            <p:nvPr/>
          </p:nvSpPr>
          <p:spPr>
            <a:xfrm>
              <a:off x="2869221" y="2843461"/>
              <a:ext cx="216805" cy="216805"/>
            </a:xfrm>
            <a:custGeom>
              <a:avLst/>
              <a:gdLst>
                <a:gd name="connsiteX0" fmla="*/ 2133600 w 4267200"/>
                <a:gd name="connsiteY0" fmla="*/ 1625537 h 4267200"/>
                <a:gd name="connsiteX1" fmla="*/ 1625727 w 4267200"/>
                <a:gd name="connsiteY1" fmla="*/ 2133791 h 4267200"/>
                <a:gd name="connsiteX2" fmla="*/ 2133981 w 4267200"/>
                <a:gd name="connsiteY2" fmla="*/ 2641664 h 4267200"/>
                <a:gd name="connsiteX3" fmla="*/ 2641854 w 4267200"/>
                <a:gd name="connsiteY3" fmla="*/ 2133600 h 4267200"/>
                <a:gd name="connsiteX4" fmla="*/ 2133600 w 4267200"/>
                <a:gd name="connsiteY4" fmla="*/ 1625537 h 4267200"/>
                <a:gd name="connsiteX5" fmla="*/ 3321463 w 4267200"/>
                <a:gd name="connsiteY5" fmla="*/ 1235012 h 4267200"/>
                <a:gd name="connsiteX6" fmla="*/ 3031808 w 4267200"/>
                <a:gd name="connsiteY6" fmla="*/ 945356 h 4267200"/>
                <a:gd name="connsiteX7" fmla="*/ 2133600 w 4267200"/>
                <a:gd name="connsiteY7" fmla="*/ 884111 h 4267200"/>
                <a:gd name="connsiteX8" fmla="*/ 1235297 w 4267200"/>
                <a:gd name="connsiteY8" fmla="*/ 945356 h 4267200"/>
                <a:gd name="connsiteX9" fmla="*/ 945642 w 4267200"/>
                <a:gd name="connsiteY9" fmla="*/ 1235012 h 4267200"/>
                <a:gd name="connsiteX10" fmla="*/ 884396 w 4267200"/>
                <a:gd name="connsiteY10" fmla="*/ 2133505 h 4267200"/>
                <a:gd name="connsiteX11" fmla="*/ 946023 w 4267200"/>
                <a:gd name="connsiteY11" fmla="*/ 3032093 h 4267200"/>
                <a:gd name="connsiteX12" fmla="*/ 1235678 w 4267200"/>
                <a:gd name="connsiteY12" fmla="*/ 3321749 h 4267200"/>
                <a:gd name="connsiteX13" fmla="*/ 2133981 w 4267200"/>
                <a:gd name="connsiteY13" fmla="*/ 3382995 h 4267200"/>
                <a:gd name="connsiteX14" fmla="*/ 3032189 w 4267200"/>
                <a:gd name="connsiteY14" fmla="*/ 3321749 h 4267200"/>
                <a:gd name="connsiteX15" fmla="*/ 3321844 w 4267200"/>
                <a:gd name="connsiteY15" fmla="*/ 3032093 h 4267200"/>
                <a:gd name="connsiteX16" fmla="*/ 3383090 w 4267200"/>
                <a:gd name="connsiteY16" fmla="*/ 2133600 h 4267200"/>
                <a:gd name="connsiteX17" fmla="*/ 3321844 w 4267200"/>
                <a:gd name="connsiteY17" fmla="*/ 1235107 h 4267200"/>
                <a:gd name="connsiteX18" fmla="*/ 2133600 w 4267200"/>
                <a:gd name="connsiteY18" fmla="*/ 2914650 h 4267200"/>
                <a:gd name="connsiteX19" fmla="*/ 1352550 w 4267200"/>
                <a:gd name="connsiteY19" fmla="*/ 2133600 h 4267200"/>
                <a:gd name="connsiteX20" fmla="*/ 2133600 w 4267200"/>
                <a:gd name="connsiteY20" fmla="*/ 1352550 h 4267200"/>
                <a:gd name="connsiteX21" fmla="*/ 2914650 w 4267200"/>
                <a:gd name="connsiteY21" fmla="*/ 2133600 h 4267200"/>
                <a:gd name="connsiteX22" fmla="*/ 2135506 w 4267200"/>
                <a:gd name="connsiteY22" fmla="*/ 2914650 h 4267200"/>
                <a:gd name="connsiteX23" fmla="*/ 2133600 w 4267200"/>
                <a:gd name="connsiteY23" fmla="*/ 2914650 h 4267200"/>
                <a:gd name="connsiteX24" fmla="*/ 2946845 w 4267200"/>
                <a:gd name="connsiteY24" fmla="*/ 1502093 h 4267200"/>
                <a:gd name="connsiteX25" fmla="*/ 2764441 w 4267200"/>
                <a:gd name="connsiteY25" fmla="*/ 1319879 h 4267200"/>
                <a:gd name="connsiteX26" fmla="*/ 2946654 w 4267200"/>
                <a:gd name="connsiteY26" fmla="*/ 1137476 h 4267200"/>
                <a:gd name="connsiteX27" fmla="*/ 3129058 w 4267200"/>
                <a:gd name="connsiteY27" fmla="*/ 1319689 h 4267200"/>
                <a:gd name="connsiteX28" fmla="*/ 3129058 w 4267200"/>
                <a:gd name="connsiteY28" fmla="*/ 1319784 h 4267200"/>
                <a:gd name="connsiteX29" fmla="*/ 2947894 w 4267200"/>
                <a:gd name="connsiteY29" fmla="*/ 1502472 h 4267200"/>
                <a:gd name="connsiteX30" fmla="*/ 2947226 w 4267200"/>
                <a:gd name="connsiteY30" fmla="*/ 1502474 h 4267200"/>
                <a:gd name="connsiteX31" fmla="*/ 3810000 w 4267200"/>
                <a:gd name="connsiteY31" fmla="*/ 0 h 4267200"/>
                <a:gd name="connsiteX32" fmla="*/ 457200 w 4267200"/>
                <a:gd name="connsiteY32" fmla="*/ 0 h 4267200"/>
                <a:gd name="connsiteX33" fmla="*/ 0 w 4267200"/>
                <a:gd name="connsiteY33" fmla="*/ 457200 h 4267200"/>
                <a:gd name="connsiteX34" fmla="*/ 0 w 4267200"/>
                <a:gd name="connsiteY34" fmla="*/ 3810000 h 4267200"/>
                <a:gd name="connsiteX35" fmla="*/ 457200 w 4267200"/>
                <a:gd name="connsiteY35" fmla="*/ 4267200 h 4267200"/>
                <a:gd name="connsiteX36" fmla="*/ 3810000 w 4267200"/>
                <a:gd name="connsiteY36" fmla="*/ 4267200 h 4267200"/>
                <a:gd name="connsiteX37" fmla="*/ 4267200 w 4267200"/>
                <a:gd name="connsiteY37" fmla="*/ 3810000 h 4267200"/>
                <a:gd name="connsiteX38" fmla="*/ 4267200 w 4267200"/>
                <a:gd name="connsiteY38" fmla="*/ 457200 h 4267200"/>
                <a:gd name="connsiteX39" fmla="*/ 3810000 w 4267200"/>
                <a:gd name="connsiteY39" fmla="*/ 0 h 4267200"/>
                <a:gd name="connsiteX40" fmla="*/ 3646932 w 4267200"/>
                <a:gd name="connsiteY40" fmla="*/ 2762250 h 4267200"/>
                <a:gd name="connsiteX41" fmla="*/ 3400711 w 4267200"/>
                <a:gd name="connsiteY41" fmla="*/ 3400425 h 4267200"/>
                <a:gd name="connsiteX42" fmla="*/ 2762536 w 4267200"/>
                <a:gd name="connsiteY42" fmla="*/ 3646646 h 4267200"/>
                <a:gd name="connsiteX43" fmla="*/ 1505236 w 4267200"/>
                <a:gd name="connsiteY43" fmla="*/ 3646646 h 4267200"/>
                <a:gd name="connsiteX44" fmla="*/ 867061 w 4267200"/>
                <a:gd name="connsiteY44" fmla="*/ 3400425 h 4267200"/>
                <a:gd name="connsiteX45" fmla="*/ 620840 w 4267200"/>
                <a:gd name="connsiteY45" fmla="*/ 2762250 h 4267200"/>
                <a:gd name="connsiteX46" fmla="*/ 620840 w 4267200"/>
                <a:gd name="connsiteY46" fmla="*/ 1504950 h 4267200"/>
                <a:gd name="connsiteX47" fmla="*/ 867061 w 4267200"/>
                <a:gd name="connsiteY47" fmla="*/ 866775 h 4267200"/>
                <a:gd name="connsiteX48" fmla="*/ 1505236 w 4267200"/>
                <a:gd name="connsiteY48" fmla="*/ 621221 h 4267200"/>
                <a:gd name="connsiteX49" fmla="*/ 2762536 w 4267200"/>
                <a:gd name="connsiteY49" fmla="*/ 621221 h 4267200"/>
                <a:gd name="connsiteX50" fmla="*/ 3400711 w 4267200"/>
                <a:gd name="connsiteY50" fmla="*/ 867442 h 4267200"/>
                <a:gd name="connsiteX51" fmla="*/ 3646932 w 4267200"/>
                <a:gd name="connsiteY51" fmla="*/ 1506093 h 4267200"/>
                <a:gd name="connsiteX52" fmla="*/ 3646932 w 4267200"/>
                <a:gd name="connsiteY52" fmla="*/ 2762250 h 426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</a:cxnLst>
              <a:rect l="l" t="t" r="r" b="b"/>
              <a:pathLst>
                <a:path w="4267200" h="4267200">
                  <a:moveTo>
                    <a:pt x="2133600" y="1625537"/>
                  </a:moveTo>
                  <a:cubicBezTo>
                    <a:pt x="1853004" y="1625642"/>
                    <a:pt x="1625622" y="1853195"/>
                    <a:pt x="1625727" y="2133791"/>
                  </a:cubicBezTo>
                  <a:cubicBezTo>
                    <a:pt x="1625832" y="2414386"/>
                    <a:pt x="1853385" y="2641769"/>
                    <a:pt x="2133981" y="2641664"/>
                  </a:cubicBezTo>
                  <a:cubicBezTo>
                    <a:pt x="2414502" y="2641558"/>
                    <a:pt x="2641854" y="2414121"/>
                    <a:pt x="2641854" y="2133600"/>
                  </a:cubicBezTo>
                  <a:cubicBezTo>
                    <a:pt x="2641644" y="1853017"/>
                    <a:pt x="2414183" y="1625642"/>
                    <a:pt x="2133600" y="1625537"/>
                  </a:cubicBezTo>
                  <a:close/>
                  <a:moveTo>
                    <a:pt x="3321463" y="1235012"/>
                  </a:moveTo>
                  <a:cubicBezTo>
                    <a:pt x="3269182" y="1102519"/>
                    <a:pt x="3164300" y="997637"/>
                    <a:pt x="3031808" y="945356"/>
                  </a:cubicBezTo>
                  <a:cubicBezTo>
                    <a:pt x="2831783" y="866394"/>
                    <a:pt x="2355533" y="884111"/>
                    <a:pt x="2133600" y="884111"/>
                  </a:cubicBezTo>
                  <a:cubicBezTo>
                    <a:pt x="1911668" y="884111"/>
                    <a:pt x="1435894" y="865727"/>
                    <a:pt x="1235297" y="945356"/>
                  </a:cubicBezTo>
                  <a:cubicBezTo>
                    <a:pt x="1102804" y="997637"/>
                    <a:pt x="997923" y="1102519"/>
                    <a:pt x="945642" y="1235012"/>
                  </a:cubicBezTo>
                  <a:cubicBezTo>
                    <a:pt x="866775" y="1435037"/>
                    <a:pt x="884396" y="1911763"/>
                    <a:pt x="884396" y="2133505"/>
                  </a:cubicBezTo>
                  <a:cubicBezTo>
                    <a:pt x="884396" y="2355247"/>
                    <a:pt x="866775" y="2831402"/>
                    <a:pt x="946023" y="3032093"/>
                  </a:cubicBezTo>
                  <a:cubicBezTo>
                    <a:pt x="998304" y="3164586"/>
                    <a:pt x="1103185" y="3269467"/>
                    <a:pt x="1235678" y="3321749"/>
                  </a:cubicBezTo>
                  <a:cubicBezTo>
                    <a:pt x="1435703" y="3400711"/>
                    <a:pt x="1911953" y="3382995"/>
                    <a:pt x="2133981" y="3382995"/>
                  </a:cubicBezTo>
                  <a:cubicBezTo>
                    <a:pt x="2356009" y="3382995"/>
                    <a:pt x="2831592" y="3401378"/>
                    <a:pt x="3032189" y="3321749"/>
                  </a:cubicBezTo>
                  <a:cubicBezTo>
                    <a:pt x="3164681" y="3269467"/>
                    <a:pt x="3269563" y="3164586"/>
                    <a:pt x="3321844" y="3032093"/>
                  </a:cubicBezTo>
                  <a:cubicBezTo>
                    <a:pt x="3401378" y="2832068"/>
                    <a:pt x="3383090" y="2355342"/>
                    <a:pt x="3383090" y="2133600"/>
                  </a:cubicBezTo>
                  <a:cubicBezTo>
                    <a:pt x="3383090" y="1911858"/>
                    <a:pt x="3401378" y="1435799"/>
                    <a:pt x="3321844" y="1235107"/>
                  </a:cubicBezTo>
                  <a:close/>
                  <a:moveTo>
                    <a:pt x="2133600" y="2914650"/>
                  </a:moveTo>
                  <a:cubicBezTo>
                    <a:pt x="1702238" y="2914650"/>
                    <a:pt x="1352550" y="2564962"/>
                    <a:pt x="1352550" y="2133600"/>
                  </a:cubicBezTo>
                  <a:cubicBezTo>
                    <a:pt x="1352550" y="1702238"/>
                    <a:pt x="1702238" y="1352550"/>
                    <a:pt x="2133600" y="1352550"/>
                  </a:cubicBezTo>
                  <a:cubicBezTo>
                    <a:pt x="2564962" y="1352550"/>
                    <a:pt x="2914650" y="1702238"/>
                    <a:pt x="2914650" y="2133600"/>
                  </a:cubicBezTo>
                  <a:cubicBezTo>
                    <a:pt x="2915177" y="2564436"/>
                    <a:pt x="2566342" y="2914124"/>
                    <a:pt x="2135506" y="2914650"/>
                  </a:cubicBezTo>
                  <a:cubicBezTo>
                    <a:pt x="2134871" y="2914651"/>
                    <a:pt x="2134236" y="2914651"/>
                    <a:pt x="2133600" y="2914650"/>
                  </a:cubicBezTo>
                  <a:close/>
                  <a:moveTo>
                    <a:pt x="2946845" y="1502093"/>
                  </a:moveTo>
                  <a:cubicBezTo>
                    <a:pt x="2846158" y="1502145"/>
                    <a:pt x="2764494" y="1420566"/>
                    <a:pt x="2764441" y="1319879"/>
                  </a:cubicBezTo>
                  <a:cubicBezTo>
                    <a:pt x="2764388" y="1219193"/>
                    <a:pt x="2845968" y="1137528"/>
                    <a:pt x="2946654" y="1137476"/>
                  </a:cubicBezTo>
                  <a:cubicBezTo>
                    <a:pt x="3047341" y="1137423"/>
                    <a:pt x="3129005" y="1219003"/>
                    <a:pt x="3129058" y="1319689"/>
                  </a:cubicBezTo>
                  <a:cubicBezTo>
                    <a:pt x="3129058" y="1319721"/>
                    <a:pt x="3129058" y="1319752"/>
                    <a:pt x="3129058" y="1319784"/>
                  </a:cubicBezTo>
                  <a:cubicBezTo>
                    <a:pt x="3129479" y="1420259"/>
                    <a:pt x="3048369" y="1502051"/>
                    <a:pt x="2947894" y="1502472"/>
                  </a:cubicBezTo>
                  <a:cubicBezTo>
                    <a:pt x="2947671" y="1502473"/>
                    <a:pt x="2947448" y="1502473"/>
                    <a:pt x="2947226" y="1502474"/>
                  </a:cubicBezTo>
                  <a:close/>
                  <a:moveTo>
                    <a:pt x="3810000" y="0"/>
                  </a:moveTo>
                  <a:lnTo>
                    <a:pt x="457200" y="0"/>
                  </a:lnTo>
                  <a:cubicBezTo>
                    <a:pt x="204695" y="0"/>
                    <a:pt x="0" y="204695"/>
                    <a:pt x="0" y="457200"/>
                  </a:cubicBezTo>
                  <a:lnTo>
                    <a:pt x="0" y="3810000"/>
                  </a:lnTo>
                  <a:cubicBezTo>
                    <a:pt x="0" y="4062505"/>
                    <a:pt x="204695" y="4267200"/>
                    <a:pt x="457200" y="4267200"/>
                  </a:cubicBezTo>
                  <a:lnTo>
                    <a:pt x="3810000" y="4267200"/>
                  </a:lnTo>
                  <a:cubicBezTo>
                    <a:pt x="4062505" y="4267200"/>
                    <a:pt x="4267200" y="4062505"/>
                    <a:pt x="4267200" y="3810000"/>
                  </a:cubicBezTo>
                  <a:lnTo>
                    <a:pt x="4267200" y="457200"/>
                  </a:lnTo>
                  <a:cubicBezTo>
                    <a:pt x="4267200" y="204695"/>
                    <a:pt x="4062505" y="0"/>
                    <a:pt x="3810000" y="0"/>
                  </a:cubicBezTo>
                  <a:close/>
                  <a:moveTo>
                    <a:pt x="3646932" y="2762250"/>
                  </a:moveTo>
                  <a:cubicBezTo>
                    <a:pt x="3634645" y="3006376"/>
                    <a:pt x="3578924" y="3222689"/>
                    <a:pt x="3400711" y="3400425"/>
                  </a:cubicBezTo>
                  <a:cubicBezTo>
                    <a:pt x="3222498" y="3578162"/>
                    <a:pt x="3006376" y="3635026"/>
                    <a:pt x="2762536" y="3646646"/>
                  </a:cubicBezTo>
                  <a:cubicBezTo>
                    <a:pt x="2510981" y="3660839"/>
                    <a:pt x="1756791" y="3660839"/>
                    <a:pt x="1505236" y="3646646"/>
                  </a:cubicBezTo>
                  <a:cubicBezTo>
                    <a:pt x="1261110" y="3634359"/>
                    <a:pt x="1045559" y="3578543"/>
                    <a:pt x="867061" y="3400425"/>
                  </a:cubicBezTo>
                  <a:cubicBezTo>
                    <a:pt x="688562" y="3222308"/>
                    <a:pt x="632460" y="3005899"/>
                    <a:pt x="620840" y="2762250"/>
                  </a:cubicBezTo>
                  <a:cubicBezTo>
                    <a:pt x="606647" y="2510599"/>
                    <a:pt x="606647" y="1756315"/>
                    <a:pt x="620840" y="1504950"/>
                  </a:cubicBezTo>
                  <a:cubicBezTo>
                    <a:pt x="633127" y="1260824"/>
                    <a:pt x="688181" y="1044512"/>
                    <a:pt x="867061" y="866775"/>
                  </a:cubicBezTo>
                  <a:cubicBezTo>
                    <a:pt x="1045940" y="689038"/>
                    <a:pt x="1262063" y="632841"/>
                    <a:pt x="1505236" y="621221"/>
                  </a:cubicBezTo>
                  <a:cubicBezTo>
                    <a:pt x="1756791" y="607028"/>
                    <a:pt x="2510981" y="607028"/>
                    <a:pt x="2762536" y="621221"/>
                  </a:cubicBezTo>
                  <a:cubicBezTo>
                    <a:pt x="3006662" y="633508"/>
                    <a:pt x="3222879" y="689324"/>
                    <a:pt x="3400711" y="867442"/>
                  </a:cubicBezTo>
                  <a:cubicBezTo>
                    <a:pt x="3578543" y="1045559"/>
                    <a:pt x="3635312" y="1261967"/>
                    <a:pt x="3646932" y="1506093"/>
                  </a:cubicBezTo>
                  <a:cubicBezTo>
                    <a:pt x="3661124" y="1756791"/>
                    <a:pt x="3661124" y="2510409"/>
                    <a:pt x="3646932" y="2762250"/>
                  </a:cubicBezTo>
                  <a:close/>
                </a:path>
              </a:pathLst>
            </a:custGeom>
            <a:solidFill>
              <a:schemeClr val="accent5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grpSp>
          <p:nvGrpSpPr>
            <p:cNvPr id="24" name="Gruppieren 42">
              <a:extLst>
                <a:ext uri="{FF2B5EF4-FFF2-40B4-BE49-F238E27FC236}">
                  <a16:creationId xmlns:a16="http://schemas.microsoft.com/office/drawing/2014/main" id="{BEA0AD08-75AD-7619-EF53-C93B032768EE}"/>
                </a:ext>
              </a:extLst>
            </p:cNvPr>
            <p:cNvGrpSpPr>
              <a:grpSpLocks/>
            </p:cNvGrpSpPr>
            <p:nvPr/>
          </p:nvGrpSpPr>
          <p:grpSpPr>
            <a:xfrm>
              <a:off x="3203009" y="2315105"/>
              <a:ext cx="2243792" cy="1001302"/>
              <a:chOff x="3203008" y="2315105"/>
              <a:chExt cx="2577579" cy="1001302"/>
            </a:xfrm>
          </p:grpSpPr>
          <p:sp>
            <p:nvSpPr>
              <p:cNvPr id="25" name="Copy contact 2">
                <a:extLst>
                  <a:ext uri="{FF2B5EF4-FFF2-40B4-BE49-F238E27FC236}">
                    <a16:creationId xmlns:a16="http://schemas.microsoft.com/office/drawing/2014/main" id="{2B2DB8DC-6026-F63A-FC4A-E8E51366495A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203008" y="2315105"/>
                <a:ext cx="2577579" cy="184666"/>
              </a:xfrm>
              <a:prstGeom prst="rect">
                <a:avLst/>
              </a:prstGeom>
            </p:spPr>
            <p:txBody>
              <a:bodyPr wrap="square" lIns="0" tIns="0" rIns="0" bIns="0" anchor="t" anchorCtr="0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0"/>
                  </a:spcAft>
                  <a:buClr>
                    <a:srgbClr val="41AAAA"/>
                  </a:buClr>
                  <a:buSzTx/>
                  <a:buFontTx/>
                  <a:buNone/>
                  <a:tabLst/>
                  <a:defRPr/>
                </a:pPr>
                <a:r>
                  <a:rPr kumimoji="0" lang="en-US" sz="1200" b="0" i="1" u="none" strike="noStrike" kern="0" cap="none" spc="0" normalizeH="0" baseline="0" noProof="0" err="1">
                    <a:ln>
                      <a:noFill/>
                    </a:ln>
                    <a:effectLst/>
                    <a:uLnTx/>
                    <a:uFillTx/>
                  </a:rPr>
                  <a:t>profilename</a:t>
                </a:r>
                <a:endParaRPr kumimoji="0" lang="en-US" sz="1200" b="0" i="1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</a:endParaRPr>
              </a:p>
            </p:txBody>
          </p:sp>
          <p:sp>
            <p:nvSpPr>
              <p:cNvPr id="26" name="Copy contact 2">
                <a:extLst>
                  <a:ext uri="{FF2B5EF4-FFF2-40B4-BE49-F238E27FC236}">
                    <a16:creationId xmlns:a16="http://schemas.microsoft.com/office/drawing/2014/main" id="{E0C60F11-3DC1-DAE4-C67B-E0DC614B46C6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203008" y="2587317"/>
                <a:ext cx="2577579" cy="184666"/>
              </a:xfrm>
              <a:prstGeom prst="rect">
                <a:avLst/>
              </a:prstGeom>
            </p:spPr>
            <p:txBody>
              <a:bodyPr wrap="square" lIns="0" tIns="0" rIns="0" bIns="0" anchor="t" anchorCtr="0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0"/>
                  </a:spcAft>
                  <a:buClr>
                    <a:srgbClr val="41AAAA"/>
                  </a:buClr>
                  <a:buSzTx/>
                  <a:buFontTx/>
                  <a:buNone/>
                  <a:tabLst/>
                  <a:defRPr/>
                </a:pPr>
                <a:r>
                  <a:rPr kumimoji="0" lang="en-US" sz="1200" b="0" i="1" u="none" strike="noStrike" kern="0" cap="none" spc="0" normalizeH="0" baseline="0" noProof="0" err="1">
                    <a:ln>
                      <a:noFill/>
                    </a:ln>
                    <a:effectLst/>
                    <a:uLnTx/>
                    <a:uFillTx/>
                  </a:rPr>
                  <a:t>profilename</a:t>
                </a:r>
                <a:endParaRPr kumimoji="0" lang="en-US" sz="1200" b="0" i="1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</a:endParaRPr>
              </a:p>
            </p:txBody>
          </p:sp>
          <p:sp>
            <p:nvSpPr>
              <p:cNvPr id="27" name="Copy contact 2">
                <a:extLst>
                  <a:ext uri="{FF2B5EF4-FFF2-40B4-BE49-F238E27FC236}">
                    <a16:creationId xmlns:a16="http://schemas.microsoft.com/office/drawing/2014/main" id="{B378F435-6025-B5D4-B271-C37E5CBBEEEE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203008" y="2859529"/>
                <a:ext cx="2577579" cy="184666"/>
              </a:xfrm>
              <a:prstGeom prst="rect">
                <a:avLst/>
              </a:prstGeom>
            </p:spPr>
            <p:txBody>
              <a:bodyPr wrap="square" lIns="0" tIns="0" rIns="0" bIns="0" anchor="t" anchorCtr="0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0"/>
                  </a:spcAft>
                  <a:buClr>
                    <a:srgbClr val="41AAAA"/>
                  </a:buClr>
                  <a:buSzTx/>
                  <a:buFontTx/>
                  <a:buNone/>
                  <a:tabLst/>
                  <a:defRPr/>
                </a:pPr>
                <a:r>
                  <a:rPr kumimoji="0" lang="en-US" sz="1200" b="0" i="1" u="none" strike="noStrike" kern="0" cap="none" spc="0" normalizeH="0" baseline="0" noProof="0" err="1">
                    <a:ln>
                      <a:noFill/>
                    </a:ln>
                    <a:effectLst/>
                    <a:uLnTx/>
                    <a:uFillTx/>
                  </a:rPr>
                  <a:t>profilename</a:t>
                </a:r>
                <a:endParaRPr kumimoji="0" lang="en-US" sz="1200" b="0" i="1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</a:endParaRPr>
              </a:p>
            </p:txBody>
          </p:sp>
          <p:sp>
            <p:nvSpPr>
              <p:cNvPr id="28" name="Copy contact 2">
                <a:extLst>
                  <a:ext uri="{FF2B5EF4-FFF2-40B4-BE49-F238E27FC236}">
                    <a16:creationId xmlns:a16="http://schemas.microsoft.com/office/drawing/2014/main" id="{24AFDFCE-AFCB-0EB3-6A06-FC399068A2C5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203008" y="3131741"/>
                <a:ext cx="2577579" cy="184666"/>
              </a:xfrm>
              <a:prstGeom prst="rect">
                <a:avLst/>
              </a:prstGeom>
            </p:spPr>
            <p:txBody>
              <a:bodyPr wrap="square" lIns="0" tIns="0" rIns="0" bIns="0" anchor="t" anchorCtr="0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0"/>
                  </a:spcAft>
                  <a:buClr>
                    <a:srgbClr val="41AAAA"/>
                  </a:buClr>
                  <a:buSzTx/>
                  <a:buFontTx/>
                  <a:buNone/>
                  <a:tabLst/>
                  <a:defRPr/>
                </a:pPr>
                <a:r>
                  <a:rPr kumimoji="0" lang="en-US" sz="1200" b="0" i="1" u="none" strike="noStrike" kern="0" cap="none" spc="0" normalizeH="0" baseline="0" noProof="0" err="1">
                    <a:ln>
                      <a:noFill/>
                    </a:ln>
                    <a:effectLst/>
                    <a:uLnTx/>
                    <a:uFillTx/>
                  </a:rPr>
                  <a:t>profilename</a:t>
                </a:r>
                <a:endParaRPr kumimoji="0" lang="en-US" sz="1200" b="0" i="1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</a:endParaRPr>
              </a:p>
            </p:txBody>
          </p:sp>
        </p:grpSp>
      </p:grpSp>
      <p:grpSp>
        <p:nvGrpSpPr>
          <p:cNvPr id="29" name="Gruppieren 47">
            <a:extLst>
              <a:ext uri="{FF2B5EF4-FFF2-40B4-BE49-F238E27FC236}">
                <a16:creationId xmlns:a16="http://schemas.microsoft.com/office/drawing/2014/main" id="{3505BB51-A497-88BE-9DD5-A8D267B25070}"/>
              </a:ext>
            </a:extLst>
          </p:cNvPr>
          <p:cNvGrpSpPr>
            <a:grpSpLocks/>
          </p:cNvGrpSpPr>
          <p:nvPr/>
        </p:nvGrpSpPr>
        <p:grpSpPr>
          <a:xfrm>
            <a:off x="6781711" y="1562523"/>
            <a:ext cx="5027702" cy="2160000"/>
            <a:chOff x="419099" y="1419648"/>
            <a:chExt cx="5027702" cy="2160000"/>
          </a:xfrm>
        </p:grpSpPr>
        <p:sp>
          <p:nvSpPr>
            <p:cNvPr id="30" name="Copy contact 1">
              <a:extLst>
                <a:ext uri="{FF2B5EF4-FFF2-40B4-BE49-F238E27FC236}">
                  <a16:creationId xmlns:a16="http://schemas.microsoft.com/office/drawing/2014/main" id="{740051EF-98BC-3EFE-CCCE-E12F8EFE8D4F}"/>
                </a:ext>
              </a:extLst>
            </p:cNvPr>
            <p:cNvSpPr>
              <a:spLocks/>
            </p:cNvSpPr>
            <p:nvPr/>
          </p:nvSpPr>
          <p:spPr bwMode="gray">
            <a:xfrm>
              <a:off x="2869221" y="1419648"/>
              <a:ext cx="2577579" cy="492443"/>
            </a:xfrm>
            <a:prstGeom prst="rect">
              <a:avLst/>
            </a:prstGeom>
          </p:spPr>
          <p:txBody>
            <a:bodyPr wrap="square" lIns="0" tIns="0" rIns="0" bIns="0" anchor="t" anchorCtr="0">
              <a:spAutoFit/>
            </a:bodyPr>
            <a:lstStyle/>
            <a:p>
              <a:pPr marL="0" marR="0" lvl="0" indent="0" defTabSz="91394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879BAA">
                    <a:lumMod val="100000"/>
                  </a:srgbClr>
                </a:buClr>
                <a:buSzPct val="100000"/>
                <a:buFontTx/>
                <a:buNone/>
                <a:tabLst/>
                <a:defRPr/>
              </a:pPr>
              <a:r>
                <a:rPr kumimoji="0" lang="en-US" sz="2000" i="0" u="none" strike="noStrike" kern="0" cap="none" spc="0" normalizeH="0" baseline="0" noProof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ea typeface="Arial Unicode MS" panose="020B0604020202020204" pitchFamily="34" charset="-128"/>
                </a:rPr>
                <a:t>Name Surname</a:t>
              </a:r>
            </a:p>
            <a:p>
              <a:pPr defTabSz="913943">
                <a:spcAft>
                  <a:spcPts val="2400"/>
                </a:spcAft>
                <a:buClr>
                  <a:srgbClr val="879BAA">
                    <a:lumMod val="100000"/>
                  </a:srgbClr>
                </a:buClr>
                <a:buSzPct val="100000"/>
                <a:defRPr/>
              </a:pPr>
              <a:r>
                <a:rPr lang="en-US" sz="1200" b="1" kern="0">
                  <a:solidFill>
                    <a:schemeClr val="accent1"/>
                  </a:solidFill>
                  <a:ea typeface="Arial Unicode MS" panose="020B0604020202020204" pitchFamily="34" charset="-128"/>
                </a:rPr>
                <a:t>Position lorem ipsum</a:t>
              </a:r>
            </a:p>
          </p:txBody>
        </p:sp>
        <p:sp>
          <p:nvSpPr>
            <p:cNvPr id="31" name="Rectangle 90">
              <a:extLst>
                <a:ext uri="{FF2B5EF4-FFF2-40B4-BE49-F238E27FC236}">
                  <a16:creationId xmlns:a16="http://schemas.microsoft.com/office/drawing/2014/main" id="{F0F26870-D861-9DEF-ED1A-F2C756B6E34A}"/>
                </a:ext>
              </a:extLst>
            </p:cNvPr>
            <p:cNvSpPr>
              <a:spLocks/>
            </p:cNvSpPr>
            <p:nvPr/>
          </p:nvSpPr>
          <p:spPr bwMode="auto">
            <a:xfrm>
              <a:off x="419099" y="1419648"/>
              <a:ext cx="2160000" cy="2160000"/>
            </a:xfrm>
            <a:prstGeom prst="teardrop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cap="all" spc="100">
                  <a:solidFill>
                    <a:schemeClr val="accent5"/>
                  </a:solidFill>
                </a:rPr>
                <a:t>Image</a:t>
              </a:r>
            </a:p>
          </p:txBody>
        </p:sp>
        <p:sp>
          <p:nvSpPr>
            <p:cNvPr id="32" name="Grafik 5">
              <a:extLst>
                <a:ext uri="{FF2B5EF4-FFF2-40B4-BE49-F238E27FC236}">
                  <a16:creationId xmlns:a16="http://schemas.microsoft.com/office/drawing/2014/main" id="{F55ACC00-766E-2FFE-3224-D22F34450E82}"/>
                </a:ext>
              </a:extLst>
            </p:cNvPr>
            <p:cNvSpPr>
              <a:spLocks/>
            </p:cNvSpPr>
            <p:nvPr/>
          </p:nvSpPr>
          <p:spPr>
            <a:xfrm>
              <a:off x="2869221" y="2571248"/>
              <a:ext cx="216805" cy="216805"/>
            </a:xfrm>
            <a:custGeom>
              <a:avLst/>
              <a:gdLst>
                <a:gd name="connsiteX0" fmla="*/ 3962400 w 4267200"/>
                <a:gd name="connsiteY0" fmla="*/ 0 h 4267200"/>
                <a:gd name="connsiteX1" fmla="*/ 303848 w 4267200"/>
                <a:gd name="connsiteY1" fmla="*/ 0 h 4267200"/>
                <a:gd name="connsiteX2" fmla="*/ 0 w 4267200"/>
                <a:gd name="connsiteY2" fmla="*/ 307658 h 4267200"/>
                <a:gd name="connsiteX3" fmla="*/ 0 w 4267200"/>
                <a:gd name="connsiteY3" fmla="*/ 3959543 h 4267200"/>
                <a:gd name="connsiteX4" fmla="*/ 303848 w 4267200"/>
                <a:gd name="connsiteY4" fmla="*/ 4267200 h 4267200"/>
                <a:gd name="connsiteX5" fmla="*/ 3962400 w 4267200"/>
                <a:gd name="connsiteY5" fmla="*/ 4267200 h 4267200"/>
                <a:gd name="connsiteX6" fmla="*/ 4267200 w 4267200"/>
                <a:gd name="connsiteY6" fmla="*/ 3959543 h 4267200"/>
                <a:gd name="connsiteX7" fmla="*/ 4267200 w 4267200"/>
                <a:gd name="connsiteY7" fmla="*/ 307658 h 4267200"/>
                <a:gd name="connsiteX8" fmla="*/ 3962400 w 4267200"/>
                <a:gd name="connsiteY8" fmla="*/ 0 h 4267200"/>
                <a:gd name="connsiteX9" fmla="*/ 1289685 w 4267200"/>
                <a:gd name="connsiteY9" fmla="*/ 3657600 h 4267200"/>
                <a:gd name="connsiteX10" fmla="*/ 657225 w 4267200"/>
                <a:gd name="connsiteY10" fmla="*/ 3657600 h 4267200"/>
                <a:gd name="connsiteX11" fmla="*/ 657225 w 4267200"/>
                <a:gd name="connsiteY11" fmla="*/ 1621155 h 4267200"/>
                <a:gd name="connsiteX12" fmla="*/ 1290638 w 4267200"/>
                <a:gd name="connsiteY12" fmla="*/ 1621155 h 4267200"/>
                <a:gd name="connsiteX13" fmla="*/ 1290638 w 4267200"/>
                <a:gd name="connsiteY13" fmla="*/ 3657600 h 4267200"/>
                <a:gd name="connsiteX14" fmla="*/ 973455 w 4267200"/>
                <a:gd name="connsiteY14" fmla="*/ 1343025 h 4267200"/>
                <a:gd name="connsiteX15" fmla="*/ 606743 w 4267200"/>
                <a:gd name="connsiteY15" fmla="*/ 976313 h 4267200"/>
                <a:gd name="connsiteX16" fmla="*/ 973455 w 4267200"/>
                <a:gd name="connsiteY16" fmla="*/ 609600 h 4267200"/>
                <a:gd name="connsiteX17" fmla="*/ 1340168 w 4267200"/>
                <a:gd name="connsiteY17" fmla="*/ 976313 h 4267200"/>
                <a:gd name="connsiteX18" fmla="*/ 973455 w 4267200"/>
                <a:gd name="connsiteY18" fmla="*/ 1343025 h 4267200"/>
                <a:gd name="connsiteX19" fmla="*/ 3660458 w 4267200"/>
                <a:gd name="connsiteY19" fmla="*/ 3657600 h 4267200"/>
                <a:gd name="connsiteX20" fmla="*/ 3027998 w 4267200"/>
                <a:gd name="connsiteY20" fmla="*/ 3657600 h 4267200"/>
                <a:gd name="connsiteX21" fmla="*/ 3027998 w 4267200"/>
                <a:gd name="connsiteY21" fmla="*/ 2667000 h 4267200"/>
                <a:gd name="connsiteX22" fmla="*/ 2699385 w 4267200"/>
                <a:gd name="connsiteY22" fmla="*/ 2126933 h 4267200"/>
                <a:gd name="connsiteX23" fmla="*/ 2319338 w 4267200"/>
                <a:gd name="connsiteY23" fmla="*/ 2649855 h 4267200"/>
                <a:gd name="connsiteX24" fmla="*/ 2319338 w 4267200"/>
                <a:gd name="connsiteY24" fmla="*/ 3657600 h 4267200"/>
                <a:gd name="connsiteX25" fmla="*/ 1686878 w 4267200"/>
                <a:gd name="connsiteY25" fmla="*/ 3657600 h 4267200"/>
                <a:gd name="connsiteX26" fmla="*/ 1686878 w 4267200"/>
                <a:gd name="connsiteY26" fmla="*/ 1621155 h 4267200"/>
                <a:gd name="connsiteX27" fmla="*/ 2293620 w 4267200"/>
                <a:gd name="connsiteY27" fmla="*/ 1621155 h 4267200"/>
                <a:gd name="connsiteX28" fmla="*/ 2293620 w 4267200"/>
                <a:gd name="connsiteY28" fmla="*/ 1899285 h 4267200"/>
                <a:gd name="connsiteX29" fmla="*/ 2302193 w 4267200"/>
                <a:gd name="connsiteY29" fmla="*/ 1899285 h 4267200"/>
                <a:gd name="connsiteX30" fmla="*/ 2901315 w 4267200"/>
                <a:gd name="connsiteY30" fmla="*/ 1570673 h 4267200"/>
                <a:gd name="connsiteX31" fmla="*/ 3660458 w 4267200"/>
                <a:gd name="connsiteY31" fmla="*/ 2541270 h 4267200"/>
                <a:gd name="connsiteX32" fmla="*/ 3660458 w 4267200"/>
                <a:gd name="connsiteY32" fmla="*/ 3657600 h 426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4267200" h="4267200">
                  <a:moveTo>
                    <a:pt x="3962400" y="0"/>
                  </a:moveTo>
                  <a:lnTo>
                    <a:pt x="303848" y="0"/>
                  </a:lnTo>
                  <a:cubicBezTo>
                    <a:pt x="136208" y="0"/>
                    <a:pt x="0" y="138113"/>
                    <a:pt x="0" y="307658"/>
                  </a:cubicBezTo>
                  <a:lnTo>
                    <a:pt x="0" y="3959543"/>
                  </a:lnTo>
                  <a:cubicBezTo>
                    <a:pt x="0" y="4129088"/>
                    <a:pt x="136208" y="4267200"/>
                    <a:pt x="303848" y="4267200"/>
                  </a:cubicBezTo>
                  <a:lnTo>
                    <a:pt x="3962400" y="4267200"/>
                  </a:lnTo>
                  <a:cubicBezTo>
                    <a:pt x="4130040" y="4267200"/>
                    <a:pt x="4267200" y="4129088"/>
                    <a:pt x="4267200" y="3959543"/>
                  </a:cubicBezTo>
                  <a:lnTo>
                    <a:pt x="4267200" y="307658"/>
                  </a:lnTo>
                  <a:cubicBezTo>
                    <a:pt x="4267200" y="138113"/>
                    <a:pt x="4130040" y="0"/>
                    <a:pt x="3962400" y="0"/>
                  </a:cubicBezTo>
                  <a:close/>
                  <a:moveTo>
                    <a:pt x="1289685" y="3657600"/>
                  </a:moveTo>
                  <a:lnTo>
                    <a:pt x="657225" y="3657600"/>
                  </a:lnTo>
                  <a:lnTo>
                    <a:pt x="657225" y="1621155"/>
                  </a:lnTo>
                  <a:lnTo>
                    <a:pt x="1290638" y="1621155"/>
                  </a:lnTo>
                  <a:lnTo>
                    <a:pt x="1290638" y="3657600"/>
                  </a:lnTo>
                  <a:close/>
                  <a:moveTo>
                    <a:pt x="973455" y="1343025"/>
                  </a:moveTo>
                  <a:cubicBezTo>
                    <a:pt x="770573" y="1343025"/>
                    <a:pt x="606743" y="1178243"/>
                    <a:pt x="606743" y="976313"/>
                  </a:cubicBezTo>
                  <a:cubicBezTo>
                    <a:pt x="606743" y="774383"/>
                    <a:pt x="770573" y="609600"/>
                    <a:pt x="973455" y="609600"/>
                  </a:cubicBezTo>
                  <a:cubicBezTo>
                    <a:pt x="1175385" y="609600"/>
                    <a:pt x="1340168" y="774383"/>
                    <a:pt x="1340168" y="976313"/>
                  </a:cubicBezTo>
                  <a:cubicBezTo>
                    <a:pt x="1340168" y="1179195"/>
                    <a:pt x="1176338" y="1343025"/>
                    <a:pt x="973455" y="1343025"/>
                  </a:cubicBezTo>
                  <a:close/>
                  <a:moveTo>
                    <a:pt x="3660458" y="3657600"/>
                  </a:moveTo>
                  <a:lnTo>
                    <a:pt x="3027998" y="3657600"/>
                  </a:lnTo>
                  <a:lnTo>
                    <a:pt x="3027998" y="2667000"/>
                  </a:lnTo>
                  <a:cubicBezTo>
                    <a:pt x="3027998" y="2430780"/>
                    <a:pt x="3023235" y="2126933"/>
                    <a:pt x="2699385" y="2126933"/>
                  </a:cubicBezTo>
                  <a:cubicBezTo>
                    <a:pt x="2369820" y="2126933"/>
                    <a:pt x="2319338" y="2384108"/>
                    <a:pt x="2319338" y="2649855"/>
                  </a:cubicBezTo>
                  <a:lnTo>
                    <a:pt x="2319338" y="3657600"/>
                  </a:lnTo>
                  <a:lnTo>
                    <a:pt x="1686878" y="3657600"/>
                  </a:lnTo>
                  <a:lnTo>
                    <a:pt x="1686878" y="1621155"/>
                  </a:lnTo>
                  <a:lnTo>
                    <a:pt x="2293620" y="1621155"/>
                  </a:lnTo>
                  <a:lnTo>
                    <a:pt x="2293620" y="1899285"/>
                  </a:lnTo>
                  <a:lnTo>
                    <a:pt x="2302193" y="1899285"/>
                  </a:lnTo>
                  <a:cubicBezTo>
                    <a:pt x="2386965" y="1739265"/>
                    <a:pt x="2593658" y="1570673"/>
                    <a:pt x="2901315" y="1570673"/>
                  </a:cubicBezTo>
                  <a:cubicBezTo>
                    <a:pt x="3541395" y="1570673"/>
                    <a:pt x="3660458" y="1992630"/>
                    <a:pt x="3660458" y="2541270"/>
                  </a:cubicBezTo>
                  <a:lnTo>
                    <a:pt x="3660458" y="3657600"/>
                  </a:lnTo>
                  <a:close/>
                </a:path>
              </a:pathLst>
            </a:custGeom>
            <a:solidFill>
              <a:schemeClr val="accent5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3" name="Grafik 18">
              <a:extLst>
                <a:ext uri="{FF2B5EF4-FFF2-40B4-BE49-F238E27FC236}">
                  <a16:creationId xmlns:a16="http://schemas.microsoft.com/office/drawing/2014/main" id="{C6F575F5-9794-714D-832A-050F53F1D9B2}"/>
                </a:ext>
              </a:extLst>
            </p:cNvPr>
            <p:cNvSpPr>
              <a:spLocks/>
            </p:cNvSpPr>
            <p:nvPr/>
          </p:nvSpPr>
          <p:spPr>
            <a:xfrm>
              <a:off x="2869221" y="3115675"/>
              <a:ext cx="216805" cy="216805"/>
            </a:xfrm>
            <a:custGeom>
              <a:avLst/>
              <a:gdLst>
                <a:gd name="connsiteX0" fmla="*/ 3810000 w 4267200"/>
                <a:gd name="connsiteY0" fmla="*/ 0 h 4267200"/>
                <a:gd name="connsiteX1" fmla="*/ 457200 w 4267200"/>
                <a:gd name="connsiteY1" fmla="*/ 0 h 4267200"/>
                <a:gd name="connsiteX2" fmla="*/ 0 w 4267200"/>
                <a:gd name="connsiteY2" fmla="*/ 457200 h 4267200"/>
                <a:gd name="connsiteX3" fmla="*/ 0 w 4267200"/>
                <a:gd name="connsiteY3" fmla="*/ 3810000 h 4267200"/>
                <a:gd name="connsiteX4" fmla="*/ 457200 w 4267200"/>
                <a:gd name="connsiteY4" fmla="*/ 4267200 h 4267200"/>
                <a:gd name="connsiteX5" fmla="*/ 1764506 w 4267200"/>
                <a:gd name="connsiteY5" fmla="*/ 4267200 h 4267200"/>
                <a:gd name="connsiteX6" fmla="*/ 1764506 w 4267200"/>
                <a:gd name="connsiteY6" fmla="*/ 2816447 h 4267200"/>
                <a:gd name="connsiteX7" fmla="*/ 1164431 w 4267200"/>
                <a:gd name="connsiteY7" fmla="*/ 2816447 h 4267200"/>
                <a:gd name="connsiteX8" fmla="*/ 1164431 w 4267200"/>
                <a:gd name="connsiteY8" fmla="*/ 2133600 h 4267200"/>
                <a:gd name="connsiteX9" fmla="*/ 1764506 w 4267200"/>
                <a:gd name="connsiteY9" fmla="*/ 2133600 h 4267200"/>
                <a:gd name="connsiteX10" fmla="*/ 1764506 w 4267200"/>
                <a:gd name="connsiteY10" fmla="*/ 1613154 h 4267200"/>
                <a:gd name="connsiteX11" fmla="*/ 2656713 w 4267200"/>
                <a:gd name="connsiteY11" fmla="*/ 694182 h 4267200"/>
                <a:gd name="connsiteX12" fmla="*/ 3185541 w 4267200"/>
                <a:gd name="connsiteY12" fmla="*/ 740283 h 4267200"/>
                <a:gd name="connsiteX13" fmla="*/ 3185541 w 4267200"/>
                <a:gd name="connsiteY13" fmla="*/ 1321308 h 4267200"/>
                <a:gd name="connsiteX14" fmla="*/ 2887695 w 4267200"/>
                <a:gd name="connsiteY14" fmla="*/ 1321308 h 4267200"/>
                <a:gd name="connsiteX15" fmla="*/ 2502694 w 4267200"/>
                <a:gd name="connsiteY15" fmla="*/ 1690211 h 4267200"/>
                <a:gd name="connsiteX16" fmla="*/ 2502694 w 4267200"/>
                <a:gd name="connsiteY16" fmla="*/ 2133600 h 4267200"/>
                <a:gd name="connsiteX17" fmla="*/ 3157823 w 4267200"/>
                <a:gd name="connsiteY17" fmla="*/ 2133600 h 4267200"/>
                <a:gd name="connsiteX18" fmla="*/ 3053048 w 4267200"/>
                <a:gd name="connsiteY18" fmla="*/ 2816447 h 4267200"/>
                <a:gd name="connsiteX19" fmla="*/ 2502694 w 4267200"/>
                <a:gd name="connsiteY19" fmla="*/ 2816447 h 4267200"/>
                <a:gd name="connsiteX20" fmla="*/ 2502694 w 4267200"/>
                <a:gd name="connsiteY20" fmla="*/ 4267200 h 4267200"/>
                <a:gd name="connsiteX21" fmla="*/ 3810000 w 4267200"/>
                <a:gd name="connsiteY21" fmla="*/ 4267200 h 4267200"/>
                <a:gd name="connsiteX22" fmla="*/ 4267200 w 4267200"/>
                <a:gd name="connsiteY22" fmla="*/ 3810000 h 4267200"/>
                <a:gd name="connsiteX23" fmla="*/ 4267200 w 4267200"/>
                <a:gd name="connsiteY23" fmla="*/ 457200 h 4267200"/>
                <a:gd name="connsiteX24" fmla="*/ 3810000 w 4267200"/>
                <a:gd name="connsiteY24" fmla="*/ 0 h 426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4267200" h="4267200">
                  <a:moveTo>
                    <a:pt x="3810000" y="0"/>
                  </a:moveTo>
                  <a:lnTo>
                    <a:pt x="457200" y="0"/>
                  </a:lnTo>
                  <a:cubicBezTo>
                    <a:pt x="204695" y="0"/>
                    <a:pt x="0" y="204695"/>
                    <a:pt x="0" y="457200"/>
                  </a:cubicBezTo>
                  <a:lnTo>
                    <a:pt x="0" y="3810000"/>
                  </a:lnTo>
                  <a:cubicBezTo>
                    <a:pt x="0" y="4062505"/>
                    <a:pt x="204695" y="4267200"/>
                    <a:pt x="457200" y="4267200"/>
                  </a:cubicBezTo>
                  <a:lnTo>
                    <a:pt x="1764506" y="4267200"/>
                  </a:lnTo>
                  <a:lnTo>
                    <a:pt x="1764506" y="2816447"/>
                  </a:lnTo>
                  <a:lnTo>
                    <a:pt x="1164431" y="2816447"/>
                  </a:lnTo>
                  <a:lnTo>
                    <a:pt x="1164431" y="2133600"/>
                  </a:lnTo>
                  <a:lnTo>
                    <a:pt x="1764506" y="2133600"/>
                  </a:lnTo>
                  <a:lnTo>
                    <a:pt x="1764506" y="1613154"/>
                  </a:lnTo>
                  <a:cubicBezTo>
                    <a:pt x="1764506" y="1021175"/>
                    <a:pt x="2116931" y="694182"/>
                    <a:pt x="2656713" y="694182"/>
                  </a:cubicBezTo>
                  <a:cubicBezTo>
                    <a:pt x="2915222" y="694182"/>
                    <a:pt x="3185541" y="740283"/>
                    <a:pt x="3185541" y="740283"/>
                  </a:cubicBezTo>
                  <a:lnTo>
                    <a:pt x="3185541" y="1321308"/>
                  </a:lnTo>
                  <a:lnTo>
                    <a:pt x="2887695" y="1321308"/>
                  </a:lnTo>
                  <a:cubicBezTo>
                    <a:pt x="2594229" y="1321308"/>
                    <a:pt x="2502694" y="1503426"/>
                    <a:pt x="2502694" y="1690211"/>
                  </a:cubicBezTo>
                  <a:lnTo>
                    <a:pt x="2502694" y="2133600"/>
                  </a:lnTo>
                  <a:lnTo>
                    <a:pt x="3157823" y="2133600"/>
                  </a:lnTo>
                  <a:lnTo>
                    <a:pt x="3053048" y="2816447"/>
                  </a:lnTo>
                  <a:lnTo>
                    <a:pt x="2502694" y="2816447"/>
                  </a:lnTo>
                  <a:lnTo>
                    <a:pt x="2502694" y="4267200"/>
                  </a:lnTo>
                  <a:lnTo>
                    <a:pt x="3810000" y="4267200"/>
                  </a:lnTo>
                  <a:cubicBezTo>
                    <a:pt x="4062505" y="4267200"/>
                    <a:pt x="4267200" y="4062505"/>
                    <a:pt x="4267200" y="3810000"/>
                  </a:cubicBezTo>
                  <a:lnTo>
                    <a:pt x="4267200" y="457200"/>
                  </a:lnTo>
                  <a:cubicBezTo>
                    <a:pt x="4267200" y="204695"/>
                    <a:pt x="4062505" y="0"/>
                    <a:pt x="3810000" y="0"/>
                  </a:cubicBezTo>
                  <a:close/>
                </a:path>
              </a:pathLst>
            </a:custGeom>
            <a:solidFill>
              <a:schemeClr val="accent5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4" name="Grafik 21">
              <a:extLst>
                <a:ext uri="{FF2B5EF4-FFF2-40B4-BE49-F238E27FC236}">
                  <a16:creationId xmlns:a16="http://schemas.microsoft.com/office/drawing/2014/main" id="{73FE44EA-4033-0CA1-E8B6-0DBA3F45A045}"/>
                </a:ext>
              </a:extLst>
            </p:cNvPr>
            <p:cNvSpPr>
              <a:spLocks/>
            </p:cNvSpPr>
            <p:nvPr/>
          </p:nvSpPr>
          <p:spPr>
            <a:xfrm>
              <a:off x="2869221" y="2299035"/>
              <a:ext cx="216805" cy="216805"/>
            </a:xfrm>
            <a:custGeom>
              <a:avLst/>
              <a:gdLst>
                <a:gd name="connsiteX0" fmla="*/ 3810000 w 4267200"/>
                <a:gd name="connsiteY0" fmla="*/ 0 h 4267200"/>
                <a:gd name="connsiteX1" fmla="*/ 457200 w 4267200"/>
                <a:gd name="connsiteY1" fmla="*/ 0 h 4267200"/>
                <a:gd name="connsiteX2" fmla="*/ 0 w 4267200"/>
                <a:gd name="connsiteY2" fmla="*/ 457200 h 4267200"/>
                <a:gd name="connsiteX3" fmla="*/ 0 w 4267200"/>
                <a:gd name="connsiteY3" fmla="*/ 3810000 h 4267200"/>
                <a:gd name="connsiteX4" fmla="*/ 457200 w 4267200"/>
                <a:gd name="connsiteY4" fmla="*/ 4267200 h 4267200"/>
                <a:gd name="connsiteX5" fmla="*/ 3810000 w 4267200"/>
                <a:gd name="connsiteY5" fmla="*/ 4267200 h 4267200"/>
                <a:gd name="connsiteX6" fmla="*/ 4267200 w 4267200"/>
                <a:gd name="connsiteY6" fmla="*/ 3810000 h 4267200"/>
                <a:gd name="connsiteX7" fmla="*/ 4267200 w 4267200"/>
                <a:gd name="connsiteY7" fmla="*/ 457200 h 4267200"/>
                <a:gd name="connsiteX8" fmla="*/ 3810000 w 4267200"/>
                <a:gd name="connsiteY8" fmla="*/ 0 h 4267200"/>
                <a:gd name="connsiteX9" fmla="*/ 3344228 w 4267200"/>
                <a:gd name="connsiteY9" fmla="*/ 1512570 h 4267200"/>
                <a:gd name="connsiteX10" fmla="*/ 3346133 w 4267200"/>
                <a:gd name="connsiteY10" fmla="*/ 1593533 h 4267200"/>
                <a:gd name="connsiteX11" fmla="*/ 1568768 w 4267200"/>
                <a:gd name="connsiteY11" fmla="*/ 3370898 h 4267200"/>
                <a:gd name="connsiteX12" fmla="*/ 609600 w 4267200"/>
                <a:gd name="connsiteY12" fmla="*/ 3090863 h 4267200"/>
                <a:gd name="connsiteX13" fmla="*/ 760095 w 4267200"/>
                <a:gd name="connsiteY13" fmla="*/ 3098483 h 4267200"/>
                <a:gd name="connsiteX14" fmla="*/ 1535430 w 4267200"/>
                <a:gd name="connsiteY14" fmla="*/ 2831783 h 4267200"/>
                <a:gd name="connsiteX15" fmla="*/ 951548 w 4267200"/>
                <a:gd name="connsiteY15" fmla="*/ 2398395 h 4267200"/>
                <a:gd name="connsiteX16" fmla="*/ 1233488 w 4267200"/>
                <a:gd name="connsiteY16" fmla="*/ 2386965 h 4267200"/>
                <a:gd name="connsiteX17" fmla="*/ 733425 w 4267200"/>
                <a:gd name="connsiteY17" fmla="*/ 1773555 h 4267200"/>
                <a:gd name="connsiteX18" fmla="*/ 733425 w 4267200"/>
                <a:gd name="connsiteY18" fmla="*/ 1765935 h 4267200"/>
                <a:gd name="connsiteX19" fmla="*/ 1015365 w 4267200"/>
                <a:gd name="connsiteY19" fmla="*/ 1844993 h 4267200"/>
                <a:gd name="connsiteX20" fmla="*/ 737235 w 4267200"/>
                <a:gd name="connsiteY20" fmla="*/ 1324927 h 4267200"/>
                <a:gd name="connsiteX21" fmla="*/ 822008 w 4267200"/>
                <a:gd name="connsiteY21" fmla="*/ 1009650 h 4267200"/>
                <a:gd name="connsiteX22" fmla="*/ 2109788 w 4267200"/>
                <a:gd name="connsiteY22" fmla="*/ 1663065 h 4267200"/>
                <a:gd name="connsiteX23" fmla="*/ 2719388 w 4267200"/>
                <a:gd name="connsiteY23" fmla="*/ 895350 h 4267200"/>
                <a:gd name="connsiteX24" fmla="*/ 3175635 w 4267200"/>
                <a:gd name="connsiteY24" fmla="*/ 1092518 h 4267200"/>
                <a:gd name="connsiteX25" fmla="*/ 3571875 w 4267200"/>
                <a:gd name="connsiteY25" fmla="*/ 942022 h 4267200"/>
                <a:gd name="connsiteX26" fmla="*/ 3297555 w 4267200"/>
                <a:gd name="connsiteY26" fmla="*/ 1285875 h 4267200"/>
                <a:gd name="connsiteX27" fmla="*/ 3657600 w 4267200"/>
                <a:gd name="connsiteY27" fmla="*/ 1188720 h 4267200"/>
                <a:gd name="connsiteX28" fmla="*/ 3344228 w 4267200"/>
                <a:gd name="connsiteY28" fmla="*/ 1512570 h 426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4267200" h="4267200">
                  <a:moveTo>
                    <a:pt x="3810000" y="0"/>
                  </a:moveTo>
                  <a:lnTo>
                    <a:pt x="457200" y="0"/>
                  </a:lnTo>
                  <a:cubicBezTo>
                    <a:pt x="204788" y="0"/>
                    <a:pt x="0" y="204788"/>
                    <a:pt x="0" y="457200"/>
                  </a:cubicBezTo>
                  <a:lnTo>
                    <a:pt x="0" y="3810000"/>
                  </a:lnTo>
                  <a:cubicBezTo>
                    <a:pt x="0" y="4062413"/>
                    <a:pt x="204788" y="4267200"/>
                    <a:pt x="457200" y="4267200"/>
                  </a:cubicBezTo>
                  <a:lnTo>
                    <a:pt x="3810000" y="4267200"/>
                  </a:lnTo>
                  <a:cubicBezTo>
                    <a:pt x="4062413" y="4267200"/>
                    <a:pt x="4267200" y="4062413"/>
                    <a:pt x="4267200" y="3810000"/>
                  </a:cubicBezTo>
                  <a:lnTo>
                    <a:pt x="4267200" y="457200"/>
                  </a:lnTo>
                  <a:cubicBezTo>
                    <a:pt x="4267200" y="204788"/>
                    <a:pt x="4062413" y="0"/>
                    <a:pt x="3810000" y="0"/>
                  </a:cubicBezTo>
                  <a:close/>
                  <a:moveTo>
                    <a:pt x="3344228" y="1512570"/>
                  </a:moveTo>
                  <a:cubicBezTo>
                    <a:pt x="3346133" y="1539240"/>
                    <a:pt x="3346133" y="1566863"/>
                    <a:pt x="3346133" y="1593533"/>
                  </a:cubicBezTo>
                  <a:cubicBezTo>
                    <a:pt x="3346133" y="2419350"/>
                    <a:pt x="2717483" y="3370898"/>
                    <a:pt x="1568768" y="3370898"/>
                  </a:cubicBezTo>
                  <a:cubicBezTo>
                    <a:pt x="1214438" y="3370898"/>
                    <a:pt x="885825" y="3268028"/>
                    <a:pt x="609600" y="3090863"/>
                  </a:cubicBezTo>
                  <a:cubicBezTo>
                    <a:pt x="660083" y="3096578"/>
                    <a:pt x="708660" y="3098483"/>
                    <a:pt x="760095" y="3098483"/>
                  </a:cubicBezTo>
                  <a:cubicBezTo>
                    <a:pt x="1052513" y="3098483"/>
                    <a:pt x="1321118" y="2999423"/>
                    <a:pt x="1535430" y="2831783"/>
                  </a:cubicBezTo>
                  <a:cubicBezTo>
                    <a:pt x="1261110" y="2826068"/>
                    <a:pt x="1030605" y="2646045"/>
                    <a:pt x="951548" y="2398395"/>
                  </a:cubicBezTo>
                  <a:cubicBezTo>
                    <a:pt x="1047750" y="2412683"/>
                    <a:pt x="1134428" y="2412683"/>
                    <a:pt x="1233488" y="2386965"/>
                  </a:cubicBezTo>
                  <a:cubicBezTo>
                    <a:pt x="947738" y="2328863"/>
                    <a:pt x="733425" y="2077403"/>
                    <a:pt x="733425" y="1773555"/>
                  </a:cubicBezTo>
                  <a:lnTo>
                    <a:pt x="733425" y="1765935"/>
                  </a:lnTo>
                  <a:cubicBezTo>
                    <a:pt x="816293" y="1812608"/>
                    <a:pt x="913448" y="1841183"/>
                    <a:pt x="1015365" y="1844993"/>
                  </a:cubicBezTo>
                  <a:cubicBezTo>
                    <a:pt x="841329" y="1729229"/>
                    <a:pt x="736893" y="1533948"/>
                    <a:pt x="737235" y="1324927"/>
                  </a:cubicBezTo>
                  <a:cubicBezTo>
                    <a:pt x="737235" y="1208723"/>
                    <a:pt x="767715" y="1102043"/>
                    <a:pt x="822008" y="1009650"/>
                  </a:cubicBezTo>
                  <a:cubicBezTo>
                    <a:pt x="1129665" y="1388745"/>
                    <a:pt x="1591628" y="1636395"/>
                    <a:pt x="2109788" y="1663065"/>
                  </a:cubicBezTo>
                  <a:cubicBezTo>
                    <a:pt x="2021205" y="1239203"/>
                    <a:pt x="2338388" y="895350"/>
                    <a:pt x="2719388" y="895350"/>
                  </a:cubicBezTo>
                  <a:cubicBezTo>
                    <a:pt x="2899410" y="895350"/>
                    <a:pt x="3061335" y="970597"/>
                    <a:pt x="3175635" y="1092518"/>
                  </a:cubicBezTo>
                  <a:cubicBezTo>
                    <a:pt x="3316605" y="1065848"/>
                    <a:pt x="3451860" y="1013460"/>
                    <a:pt x="3571875" y="942022"/>
                  </a:cubicBezTo>
                  <a:cubicBezTo>
                    <a:pt x="3525203" y="1086803"/>
                    <a:pt x="3427095" y="1208723"/>
                    <a:pt x="3297555" y="1285875"/>
                  </a:cubicBezTo>
                  <a:cubicBezTo>
                    <a:pt x="3423285" y="1272540"/>
                    <a:pt x="3545205" y="1237298"/>
                    <a:pt x="3657600" y="1188720"/>
                  </a:cubicBezTo>
                  <a:cubicBezTo>
                    <a:pt x="3572828" y="1313498"/>
                    <a:pt x="3466148" y="1423988"/>
                    <a:pt x="3344228" y="1512570"/>
                  </a:cubicBezTo>
                  <a:close/>
                </a:path>
              </a:pathLst>
            </a:custGeom>
            <a:solidFill>
              <a:schemeClr val="accent5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5" name="Grafik 27">
              <a:extLst>
                <a:ext uri="{FF2B5EF4-FFF2-40B4-BE49-F238E27FC236}">
                  <a16:creationId xmlns:a16="http://schemas.microsoft.com/office/drawing/2014/main" id="{88B767F3-87E2-D6AB-6AC7-072B76E299AC}"/>
                </a:ext>
              </a:extLst>
            </p:cNvPr>
            <p:cNvSpPr>
              <a:spLocks/>
            </p:cNvSpPr>
            <p:nvPr/>
          </p:nvSpPr>
          <p:spPr>
            <a:xfrm>
              <a:off x="2869221" y="2843461"/>
              <a:ext cx="216805" cy="216805"/>
            </a:xfrm>
            <a:custGeom>
              <a:avLst/>
              <a:gdLst>
                <a:gd name="connsiteX0" fmla="*/ 2133600 w 4267200"/>
                <a:gd name="connsiteY0" fmla="*/ 1625537 h 4267200"/>
                <a:gd name="connsiteX1" fmla="*/ 1625727 w 4267200"/>
                <a:gd name="connsiteY1" fmla="*/ 2133791 h 4267200"/>
                <a:gd name="connsiteX2" fmla="*/ 2133981 w 4267200"/>
                <a:gd name="connsiteY2" fmla="*/ 2641664 h 4267200"/>
                <a:gd name="connsiteX3" fmla="*/ 2641854 w 4267200"/>
                <a:gd name="connsiteY3" fmla="*/ 2133600 h 4267200"/>
                <a:gd name="connsiteX4" fmla="*/ 2133600 w 4267200"/>
                <a:gd name="connsiteY4" fmla="*/ 1625537 h 4267200"/>
                <a:gd name="connsiteX5" fmla="*/ 3321463 w 4267200"/>
                <a:gd name="connsiteY5" fmla="*/ 1235012 h 4267200"/>
                <a:gd name="connsiteX6" fmla="*/ 3031808 w 4267200"/>
                <a:gd name="connsiteY6" fmla="*/ 945356 h 4267200"/>
                <a:gd name="connsiteX7" fmla="*/ 2133600 w 4267200"/>
                <a:gd name="connsiteY7" fmla="*/ 884111 h 4267200"/>
                <a:gd name="connsiteX8" fmla="*/ 1235297 w 4267200"/>
                <a:gd name="connsiteY8" fmla="*/ 945356 h 4267200"/>
                <a:gd name="connsiteX9" fmla="*/ 945642 w 4267200"/>
                <a:gd name="connsiteY9" fmla="*/ 1235012 h 4267200"/>
                <a:gd name="connsiteX10" fmla="*/ 884396 w 4267200"/>
                <a:gd name="connsiteY10" fmla="*/ 2133505 h 4267200"/>
                <a:gd name="connsiteX11" fmla="*/ 946023 w 4267200"/>
                <a:gd name="connsiteY11" fmla="*/ 3032093 h 4267200"/>
                <a:gd name="connsiteX12" fmla="*/ 1235678 w 4267200"/>
                <a:gd name="connsiteY12" fmla="*/ 3321749 h 4267200"/>
                <a:gd name="connsiteX13" fmla="*/ 2133981 w 4267200"/>
                <a:gd name="connsiteY13" fmla="*/ 3382995 h 4267200"/>
                <a:gd name="connsiteX14" fmla="*/ 3032189 w 4267200"/>
                <a:gd name="connsiteY14" fmla="*/ 3321749 h 4267200"/>
                <a:gd name="connsiteX15" fmla="*/ 3321844 w 4267200"/>
                <a:gd name="connsiteY15" fmla="*/ 3032093 h 4267200"/>
                <a:gd name="connsiteX16" fmla="*/ 3383090 w 4267200"/>
                <a:gd name="connsiteY16" fmla="*/ 2133600 h 4267200"/>
                <a:gd name="connsiteX17" fmla="*/ 3321844 w 4267200"/>
                <a:gd name="connsiteY17" fmla="*/ 1235107 h 4267200"/>
                <a:gd name="connsiteX18" fmla="*/ 2133600 w 4267200"/>
                <a:gd name="connsiteY18" fmla="*/ 2914650 h 4267200"/>
                <a:gd name="connsiteX19" fmla="*/ 1352550 w 4267200"/>
                <a:gd name="connsiteY19" fmla="*/ 2133600 h 4267200"/>
                <a:gd name="connsiteX20" fmla="*/ 2133600 w 4267200"/>
                <a:gd name="connsiteY20" fmla="*/ 1352550 h 4267200"/>
                <a:gd name="connsiteX21" fmla="*/ 2914650 w 4267200"/>
                <a:gd name="connsiteY21" fmla="*/ 2133600 h 4267200"/>
                <a:gd name="connsiteX22" fmla="*/ 2135506 w 4267200"/>
                <a:gd name="connsiteY22" fmla="*/ 2914650 h 4267200"/>
                <a:gd name="connsiteX23" fmla="*/ 2133600 w 4267200"/>
                <a:gd name="connsiteY23" fmla="*/ 2914650 h 4267200"/>
                <a:gd name="connsiteX24" fmla="*/ 2946845 w 4267200"/>
                <a:gd name="connsiteY24" fmla="*/ 1502093 h 4267200"/>
                <a:gd name="connsiteX25" fmla="*/ 2764441 w 4267200"/>
                <a:gd name="connsiteY25" fmla="*/ 1319879 h 4267200"/>
                <a:gd name="connsiteX26" fmla="*/ 2946654 w 4267200"/>
                <a:gd name="connsiteY26" fmla="*/ 1137476 h 4267200"/>
                <a:gd name="connsiteX27" fmla="*/ 3129058 w 4267200"/>
                <a:gd name="connsiteY27" fmla="*/ 1319689 h 4267200"/>
                <a:gd name="connsiteX28" fmla="*/ 3129058 w 4267200"/>
                <a:gd name="connsiteY28" fmla="*/ 1319784 h 4267200"/>
                <a:gd name="connsiteX29" fmla="*/ 2947894 w 4267200"/>
                <a:gd name="connsiteY29" fmla="*/ 1502472 h 4267200"/>
                <a:gd name="connsiteX30" fmla="*/ 2947226 w 4267200"/>
                <a:gd name="connsiteY30" fmla="*/ 1502474 h 4267200"/>
                <a:gd name="connsiteX31" fmla="*/ 3810000 w 4267200"/>
                <a:gd name="connsiteY31" fmla="*/ 0 h 4267200"/>
                <a:gd name="connsiteX32" fmla="*/ 457200 w 4267200"/>
                <a:gd name="connsiteY32" fmla="*/ 0 h 4267200"/>
                <a:gd name="connsiteX33" fmla="*/ 0 w 4267200"/>
                <a:gd name="connsiteY33" fmla="*/ 457200 h 4267200"/>
                <a:gd name="connsiteX34" fmla="*/ 0 w 4267200"/>
                <a:gd name="connsiteY34" fmla="*/ 3810000 h 4267200"/>
                <a:gd name="connsiteX35" fmla="*/ 457200 w 4267200"/>
                <a:gd name="connsiteY35" fmla="*/ 4267200 h 4267200"/>
                <a:gd name="connsiteX36" fmla="*/ 3810000 w 4267200"/>
                <a:gd name="connsiteY36" fmla="*/ 4267200 h 4267200"/>
                <a:gd name="connsiteX37" fmla="*/ 4267200 w 4267200"/>
                <a:gd name="connsiteY37" fmla="*/ 3810000 h 4267200"/>
                <a:gd name="connsiteX38" fmla="*/ 4267200 w 4267200"/>
                <a:gd name="connsiteY38" fmla="*/ 457200 h 4267200"/>
                <a:gd name="connsiteX39" fmla="*/ 3810000 w 4267200"/>
                <a:gd name="connsiteY39" fmla="*/ 0 h 4267200"/>
                <a:gd name="connsiteX40" fmla="*/ 3646932 w 4267200"/>
                <a:gd name="connsiteY40" fmla="*/ 2762250 h 4267200"/>
                <a:gd name="connsiteX41" fmla="*/ 3400711 w 4267200"/>
                <a:gd name="connsiteY41" fmla="*/ 3400425 h 4267200"/>
                <a:gd name="connsiteX42" fmla="*/ 2762536 w 4267200"/>
                <a:gd name="connsiteY42" fmla="*/ 3646646 h 4267200"/>
                <a:gd name="connsiteX43" fmla="*/ 1505236 w 4267200"/>
                <a:gd name="connsiteY43" fmla="*/ 3646646 h 4267200"/>
                <a:gd name="connsiteX44" fmla="*/ 867061 w 4267200"/>
                <a:gd name="connsiteY44" fmla="*/ 3400425 h 4267200"/>
                <a:gd name="connsiteX45" fmla="*/ 620840 w 4267200"/>
                <a:gd name="connsiteY45" fmla="*/ 2762250 h 4267200"/>
                <a:gd name="connsiteX46" fmla="*/ 620840 w 4267200"/>
                <a:gd name="connsiteY46" fmla="*/ 1504950 h 4267200"/>
                <a:gd name="connsiteX47" fmla="*/ 867061 w 4267200"/>
                <a:gd name="connsiteY47" fmla="*/ 866775 h 4267200"/>
                <a:gd name="connsiteX48" fmla="*/ 1505236 w 4267200"/>
                <a:gd name="connsiteY48" fmla="*/ 621221 h 4267200"/>
                <a:gd name="connsiteX49" fmla="*/ 2762536 w 4267200"/>
                <a:gd name="connsiteY49" fmla="*/ 621221 h 4267200"/>
                <a:gd name="connsiteX50" fmla="*/ 3400711 w 4267200"/>
                <a:gd name="connsiteY50" fmla="*/ 867442 h 4267200"/>
                <a:gd name="connsiteX51" fmla="*/ 3646932 w 4267200"/>
                <a:gd name="connsiteY51" fmla="*/ 1506093 h 4267200"/>
                <a:gd name="connsiteX52" fmla="*/ 3646932 w 4267200"/>
                <a:gd name="connsiteY52" fmla="*/ 2762250 h 426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</a:cxnLst>
              <a:rect l="l" t="t" r="r" b="b"/>
              <a:pathLst>
                <a:path w="4267200" h="4267200">
                  <a:moveTo>
                    <a:pt x="2133600" y="1625537"/>
                  </a:moveTo>
                  <a:cubicBezTo>
                    <a:pt x="1853004" y="1625642"/>
                    <a:pt x="1625622" y="1853195"/>
                    <a:pt x="1625727" y="2133791"/>
                  </a:cubicBezTo>
                  <a:cubicBezTo>
                    <a:pt x="1625832" y="2414386"/>
                    <a:pt x="1853385" y="2641769"/>
                    <a:pt x="2133981" y="2641664"/>
                  </a:cubicBezTo>
                  <a:cubicBezTo>
                    <a:pt x="2414502" y="2641558"/>
                    <a:pt x="2641854" y="2414121"/>
                    <a:pt x="2641854" y="2133600"/>
                  </a:cubicBezTo>
                  <a:cubicBezTo>
                    <a:pt x="2641644" y="1853017"/>
                    <a:pt x="2414183" y="1625642"/>
                    <a:pt x="2133600" y="1625537"/>
                  </a:cubicBezTo>
                  <a:close/>
                  <a:moveTo>
                    <a:pt x="3321463" y="1235012"/>
                  </a:moveTo>
                  <a:cubicBezTo>
                    <a:pt x="3269182" y="1102519"/>
                    <a:pt x="3164300" y="997637"/>
                    <a:pt x="3031808" y="945356"/>
                  </a:cubicBezTo>
                  <a:cubicBezTo>
                    <a:pt x="2831783" y="866394"/>
                    <a:pt x="2355533" y="884111"/>
                    <a:pt x="2133600" y="884111"/>
                  </a:cubicBezTo>
                  <a:cubicBezTo>
                    <a:pt x="1911668" y="884111"/>
                    <a:pt x="1435894" y="865727"/>
                    <a:pt x="1235297" y="945356"/>
                  </a:cubicBezTo>
                  <a:cubicBezTo>
                    <a:pt x="1102804" y="997637"/>
                    <a:pt x="997923" y="1102519"/>
                    <a:pt x="945642" y="1235012"/>
                  </a:cubicBezTo>
                  <a:cubicBezTo>
                    <a:pt x="866775" y="1435037"/>
                    <a:pt x="884396" y="1911763"/>
                    <a:pt x="884396" y="2133505"/>
                  </a:cubicBezTo>
                  <a:cubicBezTo>
                    <a:pt x="884396" y="2355247"/>
                    <a:pt x="866775" y="2831402"/>
                    <a:pt x="946023" y="3032093"/>
                  </a:cubicBezTo>
                  <a:cubicBezTo>
                    <a:pt x="998304" y="3164586"/>
                    <a:pt x="1103185" y="3269467"/>
                    <a:pt x="1235678" y="3321749"/>
                  </a:cubicBezTo>
                  <a:cubicBezTo>
                    <a:pt x="1435703" y="3400711"/>
                    <a:pt x="1911953" y="3382995"/>
                    <a:pt x="2133981" y="3382995"/>
                  </a:cubicBezTo>
                  <a:cubicBezTo>
                    <a:pt x="2356009" y="3382995"/>
                    <a:pt x="2831592" y="3401378"/>
                    <a:pt x="3032189" y="3321749"/>
                  </a:cubicBezTo>
                  <a:cubicBezTo>
                    <a:pt x="3164681" y="3269467"/>
                    <a:pt x="3269563" y="3164586"/>
                    <a:pt x="3321844" y="3032093"/>
                  </a:cubicBezTo>
                  <a:cubicBezTo>
                    <a:pt x="3401378" y="2832068"/>
                    <a:pt x="3383090" y="2355342"/>
                    <a:pt x="3383090" y="2133600"/>
                  </a:cubicBezTo>
                  <a:cubicBezTo>
                    <a:pt x="3383090" y="1911858"/>
                    <a:pt x="3401378" y="1435799"/>
                    <a:pt x="3321844" y="1235107"/>
                  </a:cubicBezTo>
                  <a:close/>
                  <a:moveTo>
                    <a:pt x="2133600" y="2914650"/>
                  </a:moveTo>
                  <a:cubicBezTo>
                    <a:pt x="1702238" y="2914650"/>
                    <a:pt x="1352550" y="2564962"/>
                    <a:pt x="1352550" y="2133600"/>
                  </a:cubicBezTo>
                  <a:cubicBezTo>
                    <a:pt x="1352550" y="1702238"/>
                    <a:pt x="1702238" y="1352550"/>
                    <a:pt x="2133600" y="1352550"/>
                  </a:cubicBezTo>
                  <a:cubicBezTo>
                    <a:pt x="2564962" y="1352550"/>
                    <a:pt x="2914650" y="1702238"/>
                    <a:pt x="2914650" y="2133600"/>
                  </a:cubicBezTo>
                  <a:cubicBezTo>
                    <a:pt x="2915177" y="2564436"/>
                    <a:pt x="2566342" y="2914124"/>
                    <a:pt x="2135506" y="2914650"/>
                  </a:cubicBezTo>
                  <a:cubicBezTo>
                    <a:pt x="2134871" y="2914651"/>
                    <a:pt x="2134236" y="2914651"/>
                    <a:pt x="2133600" y="2914650"/>
                  </a:cubicBezTo>
                  <a:close/>
                  <a:moveTo>
                    <a:pt x="2946845" y="1502093"/>
                  </a:moveTo>
                  <a:cubicBezTo>
                    <a:pt x="2846158" y="1502145"/>
                    <a:pt x="2764494" y="1420566"/>
                    <a:pt x="2764441" y="1319879"/>
                  </a:cubicBezTo>
                  <a:cubicBezTo>
                    <a:pt x="2764388" y="1219193"/>
                    <a:pt x="2845968" y="1137528"/>
                    <a:pt x="2946654" y="1137476"/>
                  </a:cubicBezTo>
                  <a:cubicBezTo>
                    <a:pt x="3047341" y="1137423"/>
                    <a:pt x="3129005" y="1219003"/>
                    <a:pt x="3129058" y="1319689"/>
                  </a:cubicBezTo>
                  <a:cubicBezTo>
                    <a:pt x="3129058" y="1319721"/>
                    <a:pt x="3129058" y="1319752"/>
                    <a:pt x="3129058" y="1319784"/>
                  </a:cubicBezTo>
                  <a:cubicBezTo>
                    <a:pt x="3129479" y="1420259"/>
                    <a:pt x="3048369" y="1502051"/>
                    <a:pt x="2947894" y="1502472"/>
                  </a:cubicBezTo>
                  <a:cubicBezTo>
                    <a:pt x="2947671" y="1502473"/>
                    <a:pt x="2947448" y="1502473"/>
                    <a:pt x="2947226" y="1502474"/>
                  </a:cubicBezTo>
                  <a:close/>
                  <a:moveTo>
                    <a:pt x="3810000" y="0"/>
                  </a:moveTo>
                  <a:lnTo>
                    <a:pt x="457200" y="0"/>
                  </a:lnTo>
                  <a:cubicBezTo>
                    <a:pt x="204695" y="0"/>
                    <a:pt x="0" y="204695"/>
                    <a:pt x="0" y="457200"/>
                  </a:cubicBezTo>
                  <a:lnTo>
                    <a:pt x="0" y="3810000"/>
                  </a:lnTo>
                  <a:cubicBezTo>
                    <a:pt x="0" y="4062505"/>
                    <a:pt x="204695" y="4267200"/>
                    <a:pt x="457200" y="4267200"/>
                  </a:cubicBezTo>
                  <a:lnTo>
                    <a:pt x="3810000" y="4267200"/>
                  </a:lnTo>
                  <a:cubicBezTo>
                    <a:pt x="4062505" y="4267200"/>
                    <a:pt x="4267200" y="4062505"/>
                    <a:pt x="4267200" y="3810000"/>
                  </a:cubicBezTo>
                  <a:lnTo>
                    <a:pt x="4267200" y="457200"/>
                  </a:lnTo>
                  <a:cubicBezTo>
                    <a:pt x="4267200" y="204695"/>
                    <a:pt x="4062505" y="0"/>
                    <a:pt x="3810000" y="0"/>
                  </a:cubicBezTo>
                  <a:close/>
                  <a:moveTo>
                    <a:pt x="3646932" y="2762250"/>
                  </a:moveTo>
                  <a:cubicBezTo>
                    <a:pt x="3634645" y="3006376"/>
                    <a:pt x="3578924" y="3222689"/>
                    <a:pt x="3400711" y="3400425"/>
                  </a:cubicBezTo>
                  <a:cubicBezTo>
                    <a:pt x="3222498" y="3578162"/>
                    <a:pt x="3006376" y="3635026"/>
                    <a:pt x="2762536" y="3646646"/>
                  </a:cubicBezTo>
                  <a:cubicBezTo>
                    <a:pt x="2510981" y="3660839"/>
                    <a:pt x="1756791" y="3660839"/>
                    <a:pt x="1505236" y="3646646"/>
                  </a:cubicBezTo>
                  <a:cubicBezTo>
                    <a:pt x="1261110" y="3634359"/>
                    <a:pt x="1045559" y="3578543"/>
                    <a:pt x="867061" y="3400425"/>
                  </a:cubicBezTo>
                  <a:cubicBezTo>
                    <a:pt x="688562" y="3222308"/>
                    <a:pt x="632460" y="3005899"/>
                    <a:pt x="620840" y="2762250"/>
                  </a:cubicBezTo>
                  <a:cubicBezTo>
                    <a:pt x="606647" y="2510599"/>
                    <a:pt x="606647" y="1756315"/>
                    <a:pt x="620840" y="1504950"/>
                  </a:cubicBezTo>
                  <a:cubicBezTo>
                    <a:pt x="633127" y="1260824"/>
                    <a:pt x="688181" y="1044512"/>
                    <a:pt x="867061" y="866775"/>
                  </a:cubicBezTo>
                  <a:cubicBezTo>
                    <a:pt x="1045940" y="689038"/>
                    <a:pt x="1262063" y="632841"/>
                    <a:pt x="1505236" y="621221"/>
                  </a:cubicBezTo>
                  <a:cubicBezTo>
                    <a:pt x="1756791" y="607028"/>
                    <a:pt x="2510981" y="607028"/>
                    <a:pt x="2762536" y="621221"/>
                  </a:cubicBezTo>
                  <a:cubicBezTo>
                    <a:pt x="3006662" y="633508"/>
                    <a:pt x="3222879" y="689324"/>
                    <a:pt x="3400711" y="867442"/>
                  </a:cubicBezTo>
                  <a:cubicBezTo>
                    <a:pt x="3578543" y="1045559"/>
                    <a:pt x="3635312" y="1261967"/>
                    <a:pt x="3646932" y="1506093"/>
                  </a:cubicBezTo>
                  <a:cubicBezTo>
                    <a:pt x="3661124" y="1756791"/>
                    <a:pt x="3661124" y="2510409"/>
                    <a:pt x="3646932" y="2762250"/>
                  </a:cubicBezTo>
                  <a:close/>
                </a:path>
              </a:pathLst>
            </a:custGeom>
            <a:solidFill>
              <a:schemeClr val="accent5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grpSp>
          <p:nvGrpSpPr>
            <p:cNvPr id="36" name="Gruppieren 54">
              <a:extLst>
                <a:ext uri="{FF2B5EF4-FFF2-40B4-BE49-F238E27FC236}">
                  <a16:creationId xmlns:a16="http://schemas.microsoft.com/office/drawing/2014/main" id="{1D25A023-6736-AD00-F49C-4C6466D48DF3}"/>
                </a:ext>
              </a:extLst>
            </p:cNvPr>
            <p:cNvGrpSpPr>
              <a:grpSpLocks/>
            </p:cNvGrpSpPr>
            <p:nvPr/>
          </p:nvGrpSpPr>
          <p:grpSpPr>
            <a:xfrm>
              <a:off x="3203009" y="2315105"/>
              <a:ext cx="2243792" cy="1001302"/>
              <a:chOff x="3203008" y="2315105"/>
              <a:chExt cx="2577579" cy="1001302"/>
            </a:xfrm>
          </p:grpSpPr>
          <p:sp>
            <p:nvSpPr>
              <p:cNvPr id="37" name="Copy contact 2">
                <a:extLst>
                  <a:ext uri="{FF2B5EF4-FFF2-40B4-BE49-F238E27FC236}">
                    <a16:creationId xmlns:a16="http://schemas.microsoft.com/office/drawing/2014/main" id="{A683D8CB-01BD-7B8C-4C4B-4A5913DFC1C6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203008" y="2315105"/>
                <a:ext cx="2577579" cy="184666"/>
              </a:xfrm>
              <a:prstGeom prst="rect">
                <a:avLst/>
              </a:prstGeom>
            </p:spPr>
            <p:txBody>
              <a:bodyPr wrap="square" lIns="0" tIns="0" rIns="0" bIns="0" anchor="t" anchorCtr="0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0"/>
                  </a:spcAft>
                  <a:buClr>
                    <a:srgbClr val="41AAAA"/>
                  </a:buClr>
                  <a:buSzTx/>
                  <a:buFontTx/>
                  <a:buNone/>
                  <a:tabLst/>
                  <a:defRPr/>
                </a:pPr>
                <a:r>
                  <a:rPr kumimoji="0" lang="en-US" sz="1200" b="0" i="1" u="none" strike="noStrike" kern="0" cap="none" spc="0" normalizeH="0" baseline="0" noProof="0" err="1">
                    <a:ln>
                      <a:noFill/>
                    </a:ln>
                    <a:effectLst/>
                    <a:uLnTx/>
                    <a:uFillTx/>
                  </a:rPr>
                  <a:t>profilename</a:t>
                </a:r>
                <a:endParaRPr kumimoji="0" lang="en-US" sz="1200" b="0" i="1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</a:endParaRPr>
              </a:p>
            </p:txBody>
          </p:sp>
          <p:sp>
            <p:nvSpPr>
              <p:cNvPr id="38" name="Copy contact 2">
                <a:extLst>
                  <a:ext uri="{FF2B5EF4-FFF2-40B4-BE49-F238E27FC236}">
                    <a16:creationId xmlns:a16="http://schemas.microsoft.com/office/drawing/2014/main" id="{09B16AA4-8A74-7F6C-98B5-11F0ED561229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203008" y="2587317"/>
                <a:ext cx="2577579" cy="184666"/>
              </a:xfrm>
              <a:prstGeom prst="rect">
                <a:avLst/>
              </a:prstGeom>
            </p:spPr>
            <p:txBody>
              <a:bodyPr wrap="square" lIns="0" tIns="0" rIns="0" bIns="0" anchor="t" anchorCtr="0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0"/>
                  </a:spcAft>
                  <a:buClr>
                    <a:srgbClr val="41AAAA"/>
                  </a:buClr>
                  <a:buSzTx/>
                  <a:buFontTx/>
                  <a:buNone/>
                  <a:tabLst/>
                  <a:defRPr/>
                </a:pPr>
                <a:r>
                  <a:rPr kumimoji="0" lang="en-US" sz="1200" b="0" i="1" u="none" strike="noStrike" kern="0" cap="none" spc="0" normalizeH="0" baseline="0" noProof="0" err="1">
                    <a:ln>
                      <a:noFill/>
                    </a:ln>
                    <a:effectLst/>
                    <a:uLnTx/>
                    <a:uFillTx/>
                  </a:rPr>
                  <a:t>profilename</a:t>
                </a:r>
                <a:endParaRPr kumimoji="0" lang="en-US" sz="1200" b="0" i="1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</a:endParaRPr>
              </a:p>
            </p:txBody>
          </p:sp>
          <p:sp>
            <p:nvSpPr>
              <p:cNvPr id="39" name="Copy contact 2">
                <a:extLst>
                  <a:ext uri="{FF2B5EF4-FFF2-40B4-BE49-F238E27FC236}">
                    <a16:creationId xmlns:a16="http://schemas.microsoft.com/office/drawing/2014/main" id="{E862EF01-5199-A430-9A81-3E0B562B5E65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203008" y="2859529"/>
                <a:ext cx="2577579" cy="184666"/>
              </a:xfrm>
              <a:prstGeom prst="rect">
                <a:avLst/>
              </a:prstGeom>
            </p:spPr>
            <p:txBody>
              <a:bodyPr wrap="square" lIns="0" tIns="0" rIns="0" bIns="0" anchor="t" anchorCtr="0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0"/>
                  </a:spcAft>
                  <a:buClr>
                    <a:srgbClr val="41AAAA"/>
                  </a:buClr>
                  <a:buSzTx/>
                  <a:buFontTx/>
                  <a:buNone/>
                  <a:tabLst/>
                  <a:defRPr/>
                </a:pPr>
                <a:r>
                  <a:rPr kumimoji="0" lang="en-US" sz="1200" b="0" i="1" u="none" strike="noStrike" kern="0" cap="none" spc="0" normalizeH="0" baseline="0" noProof="0" err="1">
                    <a:ln>
                      <a:noFill/>
                    </a:ln>
                    <a:effectLst/>
                    <a:uLnTx/>
                    <a:uFillTx/>
                  </a:rPr>
                  <a:t>profilename</a:t>
                </a:r>
                <a:endParaRPr kumimoji="0" lang="en-US" sz="1200" b="0" i="1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</a:endParaRPr>
              </a:p>
            </p:txBody>
          </p:sp>
          <p:sp>
            <p:nvSpPr>
              <p:cNvPr id="40" name="Copy contact 2">
                <a:extLst>
                  <a:ext uri="{FF2B5EF4-FFF2-40B4-BE49-F238E27FC236}">
                    <a16:creationId xmlns:a16="http://schemas.microsoft.com/office/drawing/2014/main" id="{CC23790F-218D-AA95-44A7-FF7763A5940D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203008" y="3131741"/>
                <a:ext cx="2577579" cy="184666"/>
              </a:xfrm>
              <a:prstGeom prst="rect">
                <a:avLst/>
              </a:prstGeom>
            </p:spPr>
            <p:txBody>
              <a:bodyPr wrap="square" lIns="0" tIns="0" rIns="0" bIns="0" anchor="t" anchorCtr="0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0"/>
                  </a:spcAft>
                  <a:buClr>
                    <a:srgbClr val="41AAAA"/>
                  </a:buClr>
                  <a:buSzTx/>
                  <a:buFontTx/>
                  <a:buNone/>
                  <a:tabLst/>
                  <a:defRPr/>
                </a:pPr>
                <a:r>
                  <a:rPr kumimoji="0" lang="en-US" sz="1200" b="0" i="1" u="none" strike="noStrike" kern="0" cap="none" spc="0" normalizeH="0" baseline="0" noProof="0" err="1">
                    <a:ln>
                      <a:noFill/>
                    </a:ln>
                    <a:effectLst/>
                    <a:uLnTx/>
                    <a:uFillTx/>
                  </a:rPr>
                  <a:t>profilename</a:t>
                </a:r>
                <a:endParaRPr kumimoji="0" lang="en-US" sz="1200" b="0" i="1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</a:endParaRPr>
              </a:p>
            </p:txBody>
          </p:sp>
        </p:grpSp>
      </p:grpSp>
      <p:grpSp>
        <p:nvGrpSpPr>
          <p:cNvPr id="41" name="Gruppieren 59">
            <a:extLst>
              <a:ext uri="{FF2B5EF4-FFF2-40B4-BE49-F238E27FC236}">
                <a16:creationId xmlns:a16="http://schemas.microsoft.com/office/drawing/2014/main" id="{165F31B8-6D03-991B-334E-3721B01E96B9}"/>
              </a:ext>
            </a:extLst>
          </p:cNvPr>
          <p:cNvGrpSpPr>
            <a:grpSpLocks/>
          </p:cNvGrpSpPr>
          <p:nvPr/>
        </p:nvGrpSpPr>
        <p:grpSpPr>
          <a:xfrm>
            <a:off x="6781711" y="3902523"/>
            <a:ext cx="5027702" cy="2160000"/>
            <a:chOff x="419099" y="1419648"/>
            <a:chExt cx="5027702" cy="2160000"/>
          </a:xfrm>
        </p:grpSpPr>
        <p:sp>
          <p:nvSpPr>
            <p:cNvPr id="42" name="Copy contact 1">
              <a:extLst>
                <a:ext uri="{FF2B5EF4-FFF2-40B4-BE49-F238E27FC236}">
                  <a16:creationId xmlns:a16="http://schemas.microsoft.com/office/drawing/2014/main" id="{5D1C3C47-F3F1-0024-41CE-ED0E8F041A10}"/>
                </a:ext>
              </a:extLst>
            </p:cNvPr>
            <p:cNvSpPr>
              <a:spLocks/>
            </p:cNvSpPr>
            <p:nvPr/>
          </p:nvSpPr>
          <p:spPr bwMode="gray">
            <a:xfrm>
              <a:off x="2869221" y="1419648"/>
              <a:ext cx="2577579" cy="492443"/>
            </a:xfrm>
            <a:prstGeom prst="rect">
              <a:avLst/>
            </a:prstGeom>
          </p:spPr>
          <p:txBody>
            <a:bodyPr wrap="square" lIns="0" tIns="0" rIns="0" bIns="0" anchor="t" anchorCtr="0">
              <a:spAutoFit/>
            </a:bodyPr>
            <a:lstStyle/>
            <a:p>
              <a:pPr marL="0" marR="0" lvl="0" indent="0" defTabSz="91394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879BAA">
                    <a:lumMod val="100000"/>
                  </a:srgbClr>
                </a:buClr>
                <a:buSzPct val="100000"/>
                <a:buFontTx/>
                <a:buNone/>
                <a:tabLst/>
                <a:defRPr/>
              </a:pPr>
              <a:r>
                <a:rPr kumimoji="0" lang="en-US" sz="2000" i="0" u="none" strike="noStrike" kern="0" cap="none" spc="0" normalizeH="0" baseline="0" noProof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ea typeface="Arial Unicode MS" panose="020B0604020202020204" pitchFamily="34" charset="-128"/>
                </a:rPr>
                <a:t>Name Surname</a:t>
              </a:r>
            </a:p>
            <a:p>
              <a:pPr defTabSz="913943">
                <a:spcAft>
                  <a:spcPts val="2400"/>
                </a:spcAft>
                <a:buClr>
                  <a:srgbClr val="879BAA">
                    <a:lumMod val="100000"/>
                  </a:srgbClr>
                </a:buClr>
                <a:buSzPct val="100000"/>
                <a:defRPr/>
              </a:pPr>
              <a:r>
                <a:rPr lang="en-US" sz="1200" b="1" kern="0">
                  <a:solidFill>
                    <a:schemeClr val="accent1"/>
                  </a:solidFill>
                  <a:ea typeface="Arial Unicode MS" panose="020B0604020202020204" pitchFamily="34" charset="-128"/>
                </a:rPr>
                <a:t>Position lorem ipsum</a:t>
              </a:r>
            </a:p>
          </p:txBody>
        </p:sp>
        <p:sp>
          <p:nvSpPr>
            <p:cNvPr id="43" name="Rectangle 90">
              <a:extLst>
                <a:ext uri="{FF2B5EF4-FFF2-40B4-BE49-F238E27FC236}">
                  <a16:creationId xmlns:a16="http://schemas.microsoft.com/office/drawing/2014/main" id="{5B88D8A9-5051-9C43-DC0B-ADE6BF607F90}"/>
                </a:ext>
              </a:extLst>
            </p:cNvPr>
            <p:cNvSpPr>
              <a:spLocks/>
            </p:cNvSpPr>
            <p:nvPr/>
          </p:nvSpPr>
          <p:spPr bwMode="auto">
            <a:xfrm>
              <a:off x="419099" y="1419648"/>
              <a:ext cx="2160000" cy="2160000"/>
            </a:xfrm>
            <a:prstGeom prst="teardrop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cap="all" spc="100">
                  <a:solidFill>
                    <a:schemeClr val="accent5"/>
                  </a:solidFill>
                </a:rPr>
                <a:t>Image</a:t>
              </a:r>
            </a:p>
          </p:txBody>
        </p:sp>
        <p:sp>
          <p:nvSpPr>
            <p:cNvPr id="45" name="Grafik 5">
              <a:extLst>
                <a:ext uri="{FF2B5EF4-FFF2-40B4-BE49-F238E27FC236}">
                  <a16:creationId xmlns:a16="http://schemas.microsoft.com/office/drawing/2014/main" id="{2C864572-8EB6-DAA3-1F3A-8C4C4AF31FC4}"/>
                </a:ext>
              </a:extLst>
            </p:cNvPr>
            <p:cNvSpPr>
              <a:spLocks/>
            </p:cNvSpPr>
            <p:nvPr/>
          </p:nvSpPr>
          <p:spPr>
            <a:xfrm>
              <a:off x="2869221" y="2571248"/>
              <a:ext cx="216805" cy="216805"/>
            </a:xfrm>
            <a:custGeom>
              <a:avLst/>
              <a:gdLst>
                <a:gd name="connsiteX0" fmla="*/ 3962400 w 4267200"/>
                <a:gd name="connsiteY0" fmla="*/ 0 h 4267200"/>
                <a:gd name="connsiteX1" fmla="*/ 303848 w 4267200"/>
                <a:gd name="connsiteY1" fmla="*/ 0 h 4267200"/>
                <a:gd name="connsiteX2" fmla="*/ 0 w 4267200"/>
                <a:gd name="connsiteY2" fmla="*/ 307658 h 4267200"/>
                <a:gd name="connsiteX3" fmla="*/ 0 w 4267200"/>
                <a:gd name="connsiteY3" fmla="*/ 3959543 h 4267200"/>
                <a:gd name="connsiteX4" fmla="*/ 303848 w 4267200"/>
                <a:gd name="connsiteY4" fmla="*/ 4267200 h 4267200"/>
                <a:gd name="connsiteX5" fmla="*/ 3962400 w 4267200"/>
                <a:gd name="connsiteY5" fmla="*/ 4267200 h 4267200"/>
                <a:gd name="connsiteX6" fmla="*/ 4267200 w 4267200"/>
                <a:gd name="connsiteY6" fmla="*/ 3959543 h 4267200"/>
                <a:gd name="connsiteX7" fmla="*/ 4267200 w 4267200"/>
                <a:gd name="connsiteY7" fmla="*/ 307658 h 4267200"/>
                <a:gd name="connsiteX8" fmla="*/ 3962400 w 4267200"/>
                <a:gd name="connsiteY8" fmla="*/ 0 h 4267200"/>
                <a:gd name="connsiteX9" fmla="*/ 1289685 w 4267200"/>
                <a:gd name="connsiteY9" fmla="*/ 3657600 h 4267200"/>
                <a:gd name="connsiteX10" fmla="*/ 657225 w 4267200"/>
                <a:gd name="connsiteY10" fmla="*/ 3657600 h 4267200"/>
                <a:gd name="connsiteX11" fmla="*/ 657225 w 4267200"/>
                <a:gd name="connsiteY11" fmla="*/ 1621155 h 4267200"/>
                <a:gd name="connsiteX12" fmla="*/ 1290638 w 4267200"/>
                <a:gd name="connsiteY12" fmla="*/ 1621155 h 4267200"/>
                <a:gd name="connsiteX13" fmla="*/ 1290638 w 4267200"/>
                <a:gd name="connsiteY13" fmla="*/ 3657600 h 4267200"/>
                <a:gd name="connsiteX14" fmla="*/ 973455 w 4267200"/>
                <a:gd name="connsiteY14" fmla="*/ 1343025 h 4267200"/>
                <a:gd name="connsiteX15" fmla="*/ 606743 w 4267200"/>
                <a:gd name="connsiteY15" fmla="*/ 976313 h 4267200"/>
                <a:gd name="connsiteX16" fmla="*/ 973455 w 4267200"/>
                <a:gd name="connsiteY16" fmla="*/ 609600 h 4267200"/>
                <a:gd name="connsiteX17" fmla="*/ 1340168 w 4267200"/>
                <a:gd name="connsiteY17" fmla="*/ 976313 h 4267200"/>
                <a:gd name="connsiteX18" fmla="*/ 973455 w 4267200"/>
                <a:gd name="connsiteY18" fmla="*/ 1343025 h 4267200"/>
                <a:gd name="connsiteX19" fmla="*/ 3660458 w 4267200"/>
                <a:gd name="connsiteY19" fmla="*/ 3657600 h 4267200"/>
                <a:gd name="connsiteX20" fmla="*/ 3027998 w 4267200"/>
                <a:gd name="connsiteY20" fmla="*/ 3657600 h 4267200"/>
                <a:gd name="connsiteX21" fmla="*/ 3027998 w 4267200"/>
                <a:gd name="connsiteY21" fmla="*/ 2667000 h 4267200"/>
                <a:gd name="connsiteX22" fmla="*/ 2699385 w 4267200"/>
                <a:gd name="connsiteY22" fmla="*/ 2126933 h 4267200"/>
                <a:gd name="connsiteX23" fmla="*/ 2319338 w 4267200"/>
                <a:gd name="connsiteY23" fmla="*/ 2649855 h 4267200"/>
                <a:gd name="connsiteX24" fmla="*/ 2319338 w 4267200"/>
                <a:gd name="connsiteY24" fmla="*/ 3657600 h 4267200"/>
                <a:gd name="connsiteX25" fmla="*/ 1686878 w 4267200"/>
                <a:gd name="connsiteY25" fmla="*/ 3657600 h 4267200"/>
                <a:gd name="connsiteX26" fmla="*/ 1686878 w 4267200"/>
                <a:gd name="connsiteY26" fmla="*/ 1621155 h 4267200"/>
                <a:gd name="connsiteX27" fmla="*/ 2293620 w 4267200"/>
                <a:gd name="connsiteY27" fmla="*/ 1621155 h 4267200"/>
                <a:gd name="connsiteX28" fmla="*/ 2293620 w 4267200"/>
                <a:gd name="connsiteY28" fmla="*/ 1899285 h 4267200"/>
                <a:gd name="connsiteX29" fmla="*/ 2302193 w 4267200"/>
                <a:gd name="connsiteY29" fmla="*/ 1899285 h 4267200"/>
                <a:gd name="connsiteX30" fmla="*/ 2901315 w 4267200"/>
                <a:gd name="connsiteY30" fmla="*/ 1570673 h 4267200"/>
                <a:gd name="connsiteX31" fmla="*/ 3660458 w 4267200"/>
                <a:gd name="connsiteY31" fmla="*/ 2541270 h 4267200"/>
                <a:gd name="connsiteX32" fmla="*/ 3660458 w 4267200"/>
                <a:gd name="connsiteY32" fmla="*/ 3657600 h 426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4267200" h="4267200">
                  <a:moveTo>
                    <a:pt x="3962400" y="0"/>
                  </a:moveTo>
                  <a:lnTo>
                    <a:pt x="303848" y="0"/>
                  </a:lnTo>
                  <a:cubicBezTo>
                    <a:pt x="136208" y="0"/>
                    <a:pt x="0" y="138113"/>
                    <a:pt x="0" y="307658"/>
                  </a:cubicBezTo>
                  <a:lnTo>
                    <a:pt x="0" y="3959543"/>
                  </a:lnTo>
                  <a:cubicBezTo>
                    <a:pt x="0" y="4129088"/>
                    <a:pt x="136208" y="4267200"/>
                    <a:pt x="303848" y="4267200"/>
                  </a:cubicBezTo>
                  <a:lnTo>
                    <a:pt x="3962400" y="4267200"/>
                  </a:lnTo>
                  <a:cubicBezTo>
                    <a:pt x="4130040" y="4267200"/>
                    <a:pt x="4267200" y="4129088"/>
                    <a:pt x="4267200" y="3959543"/>
                  </a:cubicBezTo>
                  <a:lnTo>
                    <a:pt x="4267200" y="307658"/>
                  </a:lnTo>
                  <a:cubicBezTo>
                    <a:pt x="4267200" y="138113"/>
                    <a:pt x="4130040" y="0"/>
                    <a:pt x="3962400" y="0"/>
                  </a:cubicBezTo>
                  <a:close/>
                  <a:moveTo>
                    <a:pt x="1289685" y="3657600"/>
                  </a:moveTo>
                  <a:lnTo>
                    <a:pt x="657225" y="3657600"/>
                  </a:lnTo>
                  <a:lnTo>
                    <a:pt x="657225" y="1621155"/>
                  </a:lnTo>
                  <a:lnTo>
                    <a:pt x="1290638" y="1621155"/>
                  </a:lnTo>
                  <a:lnTo>
                    <a:pt x="1290638" y="3657600"/>
                  </a:lnTo>
                  <a:close/>
                  <a:moveTo>
                    <a:pt x="973455" y="1343025"/>
                  </a:moveTo>
                  <a:cubicBezTo>
                    <a:pt x="770573" y="1343025"/>
                    <a:pt x="606743" y="1178243"/>
                    <a:pt x="606743" y="976313"/>
                  </a:cubicBezTo>
                  <a:cubicBezTo>
                    <a:pt x="606743" y="774383"/>
                    <a:pt x="770573" y="609600"/>
                    <a:pt x="973455" y="609600"/>
                  </a:cubicBezTo>
                  <a:cubicBezTo>
                    <a:pt x="1175385" y="609600"/>
                    <a:pt x="1340168" y="774383"/>
                    <a:pt x="1340168" y="976313"/>
                  </a:cubicBezTo>
                  <a:cubicBezTo>
                    <a:pt x="1340168" y="1179195"/>
                    <a:pt x="1176338" y="1343025"/>
                    <a:pt x="973455" y="1343025"/>
                  </a:cubicBezTo>
                  <a:close/>
                  <a:moveTo>
                    <a:pt x="3660458" y="3657600"/>
                  </a:moveTo>
                  <a:lnTo>
                    <a:pt x="3027998" y="3657600"/>
                  </a:lnTo>
                  <a:lnTo>
                    <a:pt x="3027998" y="2667000"/>
                  </a:lnTo>
                  <a:cubicBezTo>
                    <a:pt x="3027998" y="2430780"/>
                    <a:pt x="3023235" y="2126933"/>
                    <a:pt x="2699385" y="2126933"/>
                  </a:cubicBezTo>
                  <a:cubicBezTo>
                    <a:pt x="2369820" y="2126933"/>
                    <a:pt x="2319338" y="2384108"/>
                    <a:pt x="2319338" y="2649855"/>
                  </a:cubicBezTo>
                  <a:lnTo>
                    <a:pt x="2319338" y="3657600"/>
                  </a:lnTo>
                  <a:lnTo>
                    <a:pt x="1686878" y="3657600"/>
                  </a:lnTo>
                  <a:lnTo>
                    <a:pt x="1686878" y="1621155"/>
                  </a:lnTo>
                  <a:lnTo>
                    <a:pt x="2293620" y="1621155"/>
                  </a:lnTo>
                  <a:lnTo>
                    <a:pt x="2293620" y="1899285"/>
                  </a:lnTo>
                  <a:lnTo>
                    <a:pt x="2302193" y="1899285"/>
                  </a:lnTo>
                  <a:cubicBezTo>
                    <a:pt x="2386965" y="1739265"/>
                    <a:pt x="2593658" y="1570673"/>
                    <a:pt x="2901315" y="1570673"/>
                  </a:cubicBezTo>
                  <a:cubicBezTo>
                    <a:pt x="3541395" y="1570673"/>
                    <a:pt x="3660458" y="1992630"/>
                    <a:pt x="3660458" y="2541270"/>
                  </a:cubicBezTo>
                  <a:lnTo>
                    <a:pt x="3660458" y="3657600"/>
                  </a:lnTo>
                  <a:close/>
                </a:path>
              </a:pathLst>
            </a:custGeom>
            <a:solidFill>
              <a:schemeClr val="accent5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6" name="Grafik 18">
              <a:extLst>
                <a:ext uri="{FF2B5EF4-FFF2-40B4-BE49-F238E27FC236}">
                  <a16:creationId xmlns:a16="http://schemas.microsoft.com/office/drawing/2014/main" id="{970929D2-9917-3135-08F4-9FC6C7723A0F}"/>
                </a:ext>
              </a:extLst>
            </p:cNvPr>
            <p:cNvSpPr>
              <a:spLocks/>
            </p:cNvSpPr>
            <p:nvPr/>
          </p:nvSpPr>
          <p:spPr>
            <a:xfrm>
              <a:off x="2869221" y="3115675"/>
              <a:ext cx="216805" cy="216805"/>
            </a:xfrm>
            <a:custGeom>
              <a:avLst/>
              <a:gdLst>
                <a:gd name="connsiteX0" fmla="*/ 3810000 w 4267200"/>
                <a:gd name="connsiteY0" fmla="*/ 0 h 4267200"/>
                <a:gd name="connsiteX1" fmla="*/ 457200 w 4267200"/>
                <a:gd name="connsiteY1" fmla="*/ 0 h 4267200"/>
                <a:gd name="connsiteX2" fmla="*/ 0 w 4267200"/>
                <a:gd name="connsiteY2" fmla="*/ 457200 h 4267200"/>
                <a:gd name="connsiteX3" fmla="*/ 0 w 4267200"/>
                <a:gd name="connsiteY3" fmla="*/ 3810000 h 4267200"/>
                <a:gd name="connsiteX4" fmla="*/ 457200 w 4267200"/>
                <a:gd name="connsiteY4" fmla="*/ 4267200 h 4267200"/>
                <a:gd name="connsiteX5" fmla="*/ 1764506 w 4267200"/>
                <a:gd name="connsiteY5" fmla="*/ 4267200 h 4267200"/>
                <a:gd name="connsiteX6" fmla="*/ 1764506 w 4267200"/>
                <a:gd name="connsiteY6" fmla="*/ 2816447 h 4267200"/>
                <a:gd name="connsiteX7" fmla="*/ 1164431 w 4267200"/>
                <a:gd name="connsiteY7" fmla="*/ 2816447 h 4267200"/>
                <a:gd name="connsiteX8" fmla="*/ 1164431 w 4267200"/>
                <a:gd name="connsiteY8" fmla="*/ 2133600 h 4267200"/>
                <a:gd name="connsiteX9" fmla="*/ 1764506 w 4267200"/>
                <a:gd name="connsiteY9" fmla="*/ 2133600 h 4267200"/>
                <a:gd name="connsiteX10" fmla="*/ 1764506 w 4267200"/>
                <a:gd name="connsiteY10" fmla="*/ 1613154 h 4267200"/>
                <a:gd name="connsiteX11" fmla="*/ 2656713 w 4267200"/>
                <a:gd name="connsiteY11" fmla="*/ 694182 h 4267200"/>
                <a:gd name="connsiteX12" fmla="*/ 3185541 w 4267200"/>
                <a:gd name="connsiteY12" fmla="*/ 740283 h 4267200"/>
                <a:gd name="connsiteX13" fmla="*/ 3185541 w 4267200"/>
                <a:gd name="connsiteY13" fmla="*/ 1321308 h 4267200"/>
                <a:gd name="connsiteX14" fmla="*/ 2887695 w 4267200"/>
                <a:gd name="connsiteY14" fmla="*/ 1321308 h 4267200"/>
                <a:gd name="connsiteX15" fmla="*/ 2502694 w 4267200"/>
                <a:gd name="connsiteY15" fmla="*/ 1690211 h 4267200"/>
                <a:gd name="connsiteX16" fmla="*/ 2502694 w 4267200"/>
                <a:gd name="connsiteY16" fmla="*/ 2133600 h 4267200"/>
                <a:gd name="connsiteX17" fmla="*/ 3157823 w 4267200"/>
                <a:gd name="connsiteY17" fmla="*/ 2133600 h 4267200"/>
                <a:gd name="connsiteX18" fmla="*/ 3053048 w 4267200"/>
                <a:gd name="connsiteY18" fmla="*/ 2816447 h 4267200"/>
                <a:gd name="connsiteX19" fmla="*/ 2502694 w 4267200"/>
                <a:gd name="connsiteY19" fmla="*/ 2816447 h 4267200"/>
                <a:gd name="connsiteX20" fmla="*/ 2502694 w 4267200"/>
                <a:gd name="connsiteY20" fmla="*/ 4267200 h 4267200"/>
                <a:gd name="connsiteX21" fmla="*/ 3810000 w 4267200"/>
                <a:gd name="connsiteY21" fmla="*/ 4267200 h 4267200"/>
                <a:gd name="connsiteX22" fmla="*/ 4267200 w 4267200"/>
                <a:gd name="connsiteY22" fmla="*/ 3810000 h 4267200"/>
                <a:gd name="connsiteX23" fmla="*/ 4267200 w 4267200"/>
                <a:gd name="connsiteY23" fmla="*/ 457200 h 4267200"/>
                <a:gd name="connsiteX24" fmla="*/ 3810000 w 4267200"/>
                <a:gd name="connsiteY24" fmla="*/ 0 h 426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4267200" h="4267200">
                  <a:moveTo>
                    <a:pt x="3810000" y="0"/>
                  </a:moveTo>
                  <a:lnTo>
                    <a:pt x="457200" y="0"/>
                  </a:lnTo>
                  <a:cubicBezTo>
                    <a:pt x="204695" y="0"/>
                    <a:pt x="0" y="204695"/>
                    <a:pt x="0" y="457200"/>
                  </a:cubicBezTo>
                  <a:lnTo>
                    <a:pt x="0" y="3810000"/>
                  </a:lnTo>
                  <a:cubicBezTo>
                    <a:pt x="0" y="4062505"/>
                    <a:pt x="204695" y="4267200"/>
                    <a:pt x="457200" y="4267200"/>
                  </a:cubicBezTo>
                  <a:lnTo>
                    <a:pt x="1764506" y="4267200"/>
                  </a:lnTo>
                  <a:lnTo>
                    <a:pt x="1764506" y="2816447"/>
                  </a:lnTo>
                  <a:lnTo>
                    <a:pt x="1164431" y="2816447"/>
                  </a:lnTo>
                  <a:lnTo>
                    <a:pt x="1164431" y="2133600"/>
                  </a:lnTo>
                  <a:lnTo>
                    <a:pt x="1764506" y="2133600"/>
                  </a:lnTo>
                  <a:lnTo>
                    <a:pt x="1764506" y="1613154"/>
                  </a:lnTo>
                  <a:cubicBezTo>
                    <a:pt x="1764506" y="1021175"/>
                    <a:pt x="2116931" y="694182"/>
                    <a:pt x="2656713" y="694182"/>
                  </a:cubicBezTo>
                  <a:cubicBezTo>
                    <a:pt x="2915222" y="694182"/>
                    <a:pt x="3185541" y="740283"/>
                    <a:pt x="3185541" y="740283"/>
                  </a:cubicBezTo>
                  <a:lnTo>
                    <a:pt x="3185541" y="1321308"/>
                  </a:lnTo>
                  <a:lnTo>
                    <a:pt x="2887695" y="1321308"/>
                  </a:lnTo>
                  <a:cubicBezTo>
                    <a:pt x="2594229" y="1321308"/>
                    <a:pt x="2502694" y="1503426"/>
                    <a:pt x="2502694" y="1690211"/>
                  </a:cubicBezTo>
                  <a:lnTo>
                    <a:pt x="2502694" y="2133600"/>
                  </a:lnTo>
                  <a:lnTo>
                    <a:pt x="3157823" y="2133600"/>
                  </a:lnTo>
                  <a:lnTo>
                    <a:pt x="3053048" y="2816447"/>
                  </a:lnTo>
                  <a:lnTo>
                    <a:pt x="2502694" y="2816447"/>
                  </a:lnTo>
                  <a:lnTo>
                    <a:pt x="2502694" y="4267200"/>
                  </a:lnTo>
                  <a:lnTo>
                    <a:pt x="3810000" y="4267200"/>
                  </a:lnTo>
                  <a:cubicBezTo>
                    <a:pt x="4062505" y="4267200"/>
                    <a:pt x="4267200" y="4062505"/>
                    <a:pt x="4267200" y="3810000"/>
                  </a:cubicBezTo>
                  <a:lnTo>
                    <a:pt x="4267200" y="457200"/>
                  </a:lnTo>
                  <a:cubicBezTo>
                    <a:pt x="4267200" y="204695"/>
                    <a:pt x="4062505" y="0"/>
                    <a:pt x="3810000" y="0"/>
                  </a:cubicBezTo>
                  <a:close/>
                </a:path>
              </a:pathLst>
            </a:custGeom>
            <a:solidFill>
              <a:schemeClr val="accent5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7" name="Grafik 21">
              <a:extLst>
                <a:ext uri="{FF2B5EF4-FFF2-40B4-BE49-F238E27FC236}">
                  <a16:creationId xmlns:a16="http://schemas.microsoft.com/office/drawing/2014/main" id="{E9F932DA-EFF7-5A47-0056-E0DEEC500C28}"/>
                </a:ext>
              </a:extLst>
            </p:cNvPr>
            <p:cNvSpPr>
              <a:spLocks/>
            </p:cNvSpPr>
            <p:nvPr/>
          </p:nvSpPr>
          <p:spPr>
            <a:xfrm>
              <a:off x="2869221" y="2299035"/>
              <a:ext cx="216805" cy="216805"/>
            </a:xfrm>
            <a:custGeom>
              <a:avLst/>
              <a:gdLst>
                <a:gd name="connsiteX0" fmla="*/ 3810000 w 4267200"/>
                <a:gd name="connsiteY0" fmla="*/ 0 h 4267200"/>
                <a:gd name="connsiteX1" fmla="*/ 457200 w 4267200"/>
                <a:gd name="connsiteY1" fmla="*/ 0 h 4267200"/>
                <a:gd name="connsiteX2" fmla="*/ 0 w 4267200"/>
                <a:gd name="connsiteY2" fmla="*/ 457200 h 4267200"/>
                <a:gd name="connsiteX3" fmla="*/ 0 w 4267200"/>
                <a:gd name="connsiteY3" fmla="*/ 3810000 h 4267200"/>
                <a:gd name="connsiteX4" fmla="*/ 457200 w 4267200"/>
                <a:gd name="connsiteY4" fmla="*/ 4267200 h 4267200"/>
                <a:gd name="connsiteX5" fmla="*/ 3810000 w 4267200"/>
                <a:gd name="connsiteY5" fmla="*/ 4267200 h 4267200"/>
                <a:gd name="connsiteX6" fmla="*/ 4267200 w 4267200"/>
                <a:gd name="connsiteY6" fmla="*/ 3810000 h 4267200"/>
                <a:gd name="connsiteX7" fmla="*/ 4267200 w 4267200"/>
                <a:gd name="connsiteY7" fmla="*/ 457200 h 4267200"/>
                <a:gd name="connsiteX8" fmla="*/ 3810000 w 4267200"/>
                <a:gd name="connsiteY8" fmla="*/ 0 h 4267200"/>
                <a:gd name="connsiteX9" fmla="*/ 3344228 w 4267200"/>
                <a:gd name="connsiteY9" fmla="*/ 1512570 h 4267200"/>
                <a:gd name="connsiteX10" fmla="*/ 3346133 w 4267200"/>
                <a:gd name="connsiteY10" fmla="*/ 1593533 h 4267200"/>
                <a:gd name="connsiteX11" fmla="*/ 1568768 w 4267200"/>
                <a:gd name="connsiteY11" fmla="*/ 3370898 h 4267200"/>
                <a:gd name="connsiteX12" fmla="*/ 609600 w 4267200"/>
                <a:gd name="connsiteY12" fmla="*/ 3090863 h 4267200"/>
                <a:gd name="connsiteX13" fmla="*/ 760095 w 4267200"/>
                <a:gd name="connsiteY13" fmla="*/ 3098483 h 4267200"/>
                <a:gd name="connsiteX14" fmla="*/ 1535430 w 4267200"/>
                <a:gd name="connsiteY14" fmla="*/ 2831783 h 4267200"/>
                <a:gd name="connsiteX15" fmla="*/ 951548 w 4267200"/>
                <a:gd name="connsiteY15" fmla="*/ 2398395 h 4267200"/>
                <a:gd name="connsiteX16" fmla="*/ 1233488 w 4267200"/>
                <a:gd name="connsiteY16" fmla="*/ 2386965 h 4267200"/>
                <a:gd name="connsiteX17" fmla="*/ 733425 w 4267200"/>
                <a:gd name="connsiteY17" fmla="*/ 1773555 h 4267200"/>
                <a:gd name="connsiteX18" fmla="*/ 733425 w 4267200"/>
                <a:gd name="connsiteY18" fmla="*/ 1765935 h 4267200"/>
                <a:gd name="connsiteX19" fmla="*/ 1015365 w 4267200"/>
                <a:gd name="connsiteY19" fmla="*/ 1844993 h 4267200"/>
                <a:gd name="connsiteX20" fmla="*/ 737235 w 4267200"/>
                <a:gd name="connsiteY20" fmla="*/ 1324927 h 4267200"/>
                <a:gd name="connsiteX21" fmla="*/ 822008 w 4267200"/>
                <a:gd name="connsiteY21" fmla="*/ 1009650 h 4267200"/>
                <a:gd name="connsiteX22" fmla="*/ 2109788 w 4267200"/>
                <a:gd name="connsiteY22" fmla="*/ 1663065 h 4267200"/>
                <a:gd name="connsiteX23" fmla="*/ 2719388 w 4267200"/>
                <a:gd name="connsiteY23" fmla="*/ 895350 h 4267200"/>
                <a:gd name="connsiteX24" fmla="*/ 3175635 w 4267200"/>
                <a:gd name="connsiteY24" fmla="*/ 1092518 h 4267200"/>
                <a:gd name="connsiteX25" fmla="*/ 3571875 w 4267200"/>
                <a:gd name="connsiteY25" fmla="*/ 942022 h 4267200"/>
                <a:gd name="connsiteX26" fmla="*/ 3297555 w 4267200"/>
                <a:gd name="connsiteY26" fmla="*/ 1285875 h 4267200"/>
                <a:gd name="connsiteX27" fmla="*/ 3657600 w 4267200"/>
                <a:gd name="connsiteY27" fmla="*/ 1188720 h 4267200"/>
                <a:gd name="connsiteX28" fmla="*/ 3344228 w 4267200"/>
                <a:gd name="connsiteY28" fmla="*/ 1512570 h 426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4267200" h="4267200">
                  <a:moveTo>
                    <a:pt x="3810000" y="0"/>
                  </a:moveTo>
                  <a:lnTo>
                    <a:pt x="457200" y="0"/>
                  </a:lnTo>
                  <a:cubicBezTo>
                    <a:pt x="204788" y="0"/>
                    <a:pt x="0" y="204788"/>
                    <a:pt x="0" y="457200"/>
                  </a:cubicBezTo>
                  <a:lnTo>
                    <a:pt x="0" y="3810000"/>
                  </a:lnTo>
                  <a:cubicBezTo>
                    <a:pt x="0" y="4062413"/>
                    <a:pt x="204788" y="4267200"/>
                    <a:pt x="457200" y="4267200"/>
                  </a:cubicBezTo>
                  <a:lnTo>
                    <a:pt x="3810000" y="4267200"/>
                  </a:lnTo>
                  <a:cubicBezTo>
                    <a:pt x="4062413" y="4267200"/>
                    <a:pt x="4267200" y="4062413"/>
                    <a:pt x="4267200" y="3810000"/>
                  </a:cubicBezTo>
                  <a:lnTo>
                    <a:pt x="4267200" y="457200"/>
                  </a:lnTo>
                  <a:cubicBezTo>
                    <a:pt x="4267200" y="204788"/>
                    <a:pt x="4062413" y="0"/>
                    <a:pt x="3810000" y="0"/>
                  </a:cubicBezTo>
                  <a:close/>
                  <a:moveTo>
                    <a:pt x="3344228" y="1512570"/>
                  </a:moveTo>
                  <a:cubicBezTo>
                    <a:pt x="3346133" y="1539240"/>
                    <a:pt x="3346133" y="1566863"/>
                    <a:pt x="3346133" y="1593533"/>
                  </a:cubicBezTo>
                  <a:cubicBezTo>
                    <a:pt x="3346133" y="2419350"/>
                    <a:pt x="2717483" y="3370898"/>
                    <a:pt x="1568768" y="3370898"/>
                  </a:cubicBezTo>
                  <a:cubicBezTo>
                    <a:pt x="1214438" y="3370898"/>
                    <a:pt x="885825" y="3268028"/>
                    <a:pt x="609600" y="3090863"/>
                  </a:cubicBezTo>
                  <a:cubicBezTo>
                    <a:pt x="660083" y="3096578"/>
                    <a:pt x="708660" y="3098483"/>
                    <a:pt x="760095" y="3098483"/>
                  </a:cubicBezTo>
                  <a:cubicBezTo>
                    <a:pt x="1052513" y="3098483"/>
                    <a:pt x="1321118" y="2999423"/>
                    <a:pt x="1535430" y="2831783"/>
                  </a:cubicBezTo>
                  <a:cubicBezTo>
                    <a:pt x="1261110" y="2826068"/>
                    <a:pt x="1030605" y="2646045"/>
                    <a:pt x="951548" y="2398395"/>
                  </a:cubicBezTo>
                  <a:cubicBezTo>
                    <a:pt x="1047750" y="2412683"/>
                    <a:pt x="1134428" y="2412683"/>
                    <a:pt x="1233488" y="2386965"/>
                  </a:cubicBezTo>
                  <a:cubicBezTo>
                    <a:pt x="947738" y="2328863"/>
                    <a:pt x="733425" y="2077403"/>
                    <a:pt x="733425" y="1773555"/>
                  </a:cubicBezTo>
                  <a:lnTo>
                    <a:pt x="733425" y="1765935"/>
                  </a:lnTo>
                  <a:cubicBezTo>
                    <a:pt x="816293" y="1812608"/>
                    <a:pt x="913448" y="1841183"/>
                    <a:pt x="1015365" y="1844993"/>
                  </a:cubicBezTo>
                  <a:cubicBezTo>
                    <a:pt x="841329" y="1729229"/>
                    <a:pt x="736893" y="1533948"/>
                    <a:pt x="737235" y="1324927"/>
                  </a:cubicBezTo>
                  <a:cubicBezTo>
                    <a:pt x="737235" y="1208723"/>
                    <a:pt x="767715" y="1102043"/>
                    <a:pt x="822008" y="1009650"/>
                  </a:cubicBezTo>
                  <a:cubicBezTo>
                    <a:pt x="1129665" y="1388745"/>
                    <a:pt x="1591628" y="1636395"/>
                    <a:pt x="2109788" y="1663065"/>
                  </a:cubicBezTo>
                  <a:cubicBezTo>
                    <a:pt x="2021205" y="1239203"/>
                    <a:pt x="2338388" y="895350"/>
                    <a:pt x="2719388" y="895350"/>
                  </a:cubicBezTo>
                  <a:cubicBezTo>
                    <a:pt x="2899410" y="895350"/>
                    <a:pt x="3061335" y="970597"/>
                    <a:pt x="3175635" y="1092518"/>
                  </a:cubicBezTo>
                  <a:cubicBezTo>
                    <a:pt x="3316605" y="1065848"/>
                    <a:pt x="3451860" y="1013460"/>
                    <a:pt x="3571875" y="942022"/>
                  </a:cubicBezTo>
                  <a:cubicBezTo>
                    <a:pt x="3525203" y="1086803"/>
                    <a:pt x="3427095" y="1208723"/>
                    <a:pt x="3297555" y="1285875"/>
                  </a:cubicBezTo>
                  <a:cubicBezTo>
                    <a:pt x="3423285" y="1272540"/>
                    <a:pt x="3545205" y="1237298"/>
                    <a:pt x="3657600" y="1188720"/>
                  </a:cubicBezTo>
                  <a:cubicBezTo>
                    <a:pt x="3572828" y="1313498"/>
                    <a:pt x="3466148" y="1423988"/>
                    <a:pt x="3344228" y="1512570"/>
                  </a:cubicBezTo>
                  <a:close/>
                </a:path>
              </a:pathLst>
            </a:custGeom>
            <a:solidFill>
              <a:schemeClr val="accent5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8" name="Grafik 27">
              <a:extLst>
                <a:ext uri="{FF2B5EF4-FFF2-40B4-BE49-F238E27FC236}">
                  <a16:creationId xmlns:a16="http://schemas.microsoft.com/office/drawing/2014/main" id="{89111BA2-0352-16A4-4C52-83B6E3CC9F3A}"/>
                </a:ext>
              </a:extLst>
            </p:cNvPr>
            <p:cNvSpPr>
              <a:spLocks/>
            </p:cNvSpPr>
            <p:nvPr/>
          </p:nvSpPr>
          <p:spPr>
            <a:xfrm>
              <a:off x="2869221" y="2843461"/>
              <a:ext cx="216805" cy="216805"/>
            </a:xfrm>
            <a:custGeom>
              <a:avLst/>
              <a:gdLst>
                <a:gd name="connsiteX0" fmla="*/ 2133600 w 4267200"/>
                <a:gd name="connsiteY0" fmla="*/ 1625537 h 4267200"/>
                <a:gd name="connsiteX1" fmla="*/ 1625727 w 4267200"/>
                <a:gd name="connsiteY1" fmla="*/ 2133791 h 4267200"/>
                <a:gd name="connsiteX2" fmla="*/ 2133981 w 4267200"/>
                <a:gd name="connsiteY2" fmla="*/ 2641664 h 4267200"/>
                <a:gd name="connsiteX3" fmla="*/ 2641854 w 4267200"/>
                <a:gd name="connsiteY3" fmla="*/ 2133600 h 4267200"/>
                <a:gd name="connsiteX4" fmla="*/ 2133600 w 4267200"/>
                <a:gd name="connsiteY4" fmla="*/ 1625537 h 4267200"/>
                <a:gd name="connsiteX5" fmla="*/ 3321463 w 4267200"/>
                <a:gd name="connsiteY5" fmla="*/ 1235012 h 4267200"/>
                <a:gd name="connsiteX6" fmla="*/ 3031808 w 4267200"/>
                <a:gd name="connsiteY6" fmla="*/ 945356 h 4267200"/>
                <a:gd name="connsiteX7" fmla="*/ 2133600 w 4267200"/>
                <a:gd name="connsiteY7" fmla="*/ 884111 h 4267200"/>
                <a:gd name="connsiteX8" fmla="*/ 1235297 w 4267200"/>
                <a:gd name="connsiteY8" fmla="*/ 945356 h 4267200"/>
                <a:gd name="connsiteX9" fmla="*/ 945642 w 4267200"/>
                <a:gd name="connsiteY9" fmla="*/ 1235012 h 4267200"/>
                <a:gd name="connsiteX10" fmla="*/ 884396 w 4267200"/>
                <a:gd name="connsiteY10" fmla="*/ 2133505 h 4267200"/>
                <a:gd name="connsiteX11" fmla="*/ 946023 w 4267200"/>
                <a:gd name="connsiteY11" fmla="*/ 3032093 h 4267200"/>
                <a:gd name="connsiteX12" fmla="*/ 1235678 w 4267200"/>
                <a:gd name="connsiteY12" fmla="*/ 3321749 h 4267200"/>
                <a:gd name="connsiteX13" fmla="*/ 2133981 w 4267200"/>
                <a:gd name="connsiteY13" fmla="*/ 3382995 h 4267200"/>
                <a:gd name="connsiteX14" fmla="*/ 3032189 w 4267200"/>
                <a:gd name="connsiteY14" fmla="*/ 3321749 h 4267200"/>
                <a:gd name="connsiteX15" fmla="*/ 3321844 w 4267200"/>
                <a:gd name="connsiteY15" fmla="*/ 3032093 h 4267200"/>
                <a:gd name="connsiteX16" fmla="*/ 3383090 w 4267200"/>
                <a:gd name="connsiteY16" fmla="*/ 2133600 h 4267200"/>
                <a:gd name="connsiteX17" fmla="*/ 3321844 w 4267200"/>
                <a:gd name="connsiteY17" fmla="*/ 1235107 h 4267200"/>
                <a:gd name="connsiteX18" fmla="*/ 2133600 w 4267200"/>
                <a:gd name="connsiteY18" fmla="*/ 2914650 h 4267200"/>
                <a:gd name="connsiteX19" fmla="*/ 1352550 w 4267200"/>
                <a:gd name="connsiteY19" fmla="*/ 2133600 h 4267200"/>
                <a:gd name="connsiteX20" fmla="*/ 2133600 w 4267200"/>
                <a:gd name="connsiteY20" fmla="*/ 1352550 h 4267200"/>
                <a:gd name="connsiteX21" fmla="*/ 2914650 w 4267200"/>
                <a:gd name="connsiteY21" fmla="*/ 2133600 h 4267200"/>
                <a:gd name="connsiteX22" fmla="*/ 2135506 w 4267200"/>
                <a:gd name="connsiteY22" fmla="*/ 2914650 h 4267200"/>
                <a:gd name="connsiteX23" fmla="*/ 2133600 w 4267200"/>
                <a:gd name="connsiteY23" fmla="*/ 2914650 h 4267200"/>
                <a:gd name="connsiteX24" fmla="*/ 2946845 w 4267200"/>
                <a:gd name="connsiteY24" fmla="*/ 1502093 h 4267200"/>
                <a:gd name="connsiteX25" fmla="*/ 2764441 w 4267200"/>
                <a:gd name="connsiteY25" fmla="*/ 1319879 h 4267200"/>
                <a:gd name="connsiteX26" fmla="*/ 2946654 w 4267200"/>
                <a:gd name="connsiteY26" fmla="*/ 1137476 h 4267200"/>
                <a:gd name="connsiteX27" fmla="*/ 3129058 w 4267200"/>
                <a:gd name="connsiteY27" fmla="*/ 1319689 h 4267200"/>
                <a:gd name="connsiteX28" fmla="*/ 3129058 w 4267200"/>
                <a:gd name="connsiteY28" fmla="*/ 1319784 h 4267200"/>
                <a:gd name="connsiteX29" fmla="*/ 2947894 w 4267200"/>
                <a:gd name="connsiteY29" fmla="*/ 1502472 h 4267200"/>
                <a:gd name="connsiteX30" fmla="*/ 2947226 w 4267200"/>
                <a:gd name="connsiteY30" fmla="*/ 1502474 h 4267200"/>
                <a:gd name="connsiteX31" fmla="*/ 3810000 w 4267200"/>
                <a:gd name="connsiteY31" fmla="*/ 0 h 4267200"/>
                <a:gd name="connsiteX32" fmla="*/ 457200 w 4267200"/>
                <a:gd name="connsiteY32" fmla="*/ 0 h 4267200"/>
                <a:gd name="connsiteX33" fmla="*/ 0 w 4267200"/>
                <a:gd name="connsiteY33" fmla="*/ 457200 h 4267200"/>
                <a:gd name="connsiteX34" fmla="*/ 0 w 4267200"/>
                <a:gd name="connsiteY34" fmla="*/ 3810000 h 4267200"/>
                <a:gd name="connsiteX35" fmla="*/ 457200 w 4267200"/>
                <a:gd name="connsiteY35" fmla="*/ 4267200 h 4267200"/>
                <a:gd name="connsiteX36" fmla="*/ 3810000 w 4267200"/>
                <a:gd name="connsiteY36" fmla="*/ 4267200 h 4267200"/>
                <a:gd name="connsiteX37" fmla="*/ 4267200 w 4267200"/>
                <a:gd name="connsiteY37" fmla="*/ 3810000 h 4267200"/>
                <a:gd name="connsiteX38" fmla="*/ 4267200 w 4267200"/>
                <a:gd name="connsiteY38" fmla="*/ 457200 h 4267200"/>
                <a:gd name="connsiteX39" fmla="*/ 3810000 w 4267200"/>
                <a:gd name="connsiteY39" fmla="*/ 0 h 4267200"/>
                <a:gd name="connsiteX40" fmla="*/ 3646932 w 4267200"/>
                <a:gd name="connsiteY40" fmla="*/ 2762250 h 4267200"/>
                <a:gd name="connsiteX41" fmla="*/ 3400711 w 4267200"/>
                <a:gd name="connsiteY41" fmla="*/ 3400425 h 4267200"/>
                <a:gd name="connsiteX42" fmla="*/ 2762536 w 4267200"/>
                <a:gd name="connsiteY42" fmla="*/ 3646646 h 4267200"/>
                <a:gd name="connsiteX43" fmla="*/ 1505236 w 4267200"/>
                <a:gd name="connsiteY43" fmla="*/ 3646646 h 4267200"/>
                <a:gd name="connsiteX44" fmla="*/ 867061 w 4267200"/>
                <a:gd name="connsiteY44" fmla="*/ 3400425 h 4267200"/>
                <a:gd name="connsiteX45" fmla="*/ 620840 w 4267200"/>
                <a:gd name="connsiteY45" fmla="*/ 2762250 h 4267200"/>
                <a:gd name="connsiteX46" fmla="*/ 620840 w 4267200"/>
                <a:gd name="connsiteY46" fmla="*/ 1504950 h 4267200"/>
                <a:gd name="connsiteX47" fmla="*/ 867061 w 4267200"/>
                <a:gd name="connsiteY47" fmla="*/ 866775 h 4267200"/>
                <a:gd name="connsiteX48" fmla="*/ 1505236 w 4267200"/>
                <a:gd name="connsiteY48" fmla="*/ 621221 h 4267200"/>
                <a:gd name="connsiteX49" fmla="*/ 2762536 w 4267200"/>
                <a:gd name="connsiteY49" fmla="*/ 621221 h 4267200"/>
                <a:gd name="connsiteX50" fmla="*/ 3400711 w 4267200"/>
                <a:gd name="connsiteY50" fmla="*/ 867442 h 4267200"/>
                <a:gd name="connsiteX51" fmla="*/ 3646932 w 4267200"/>
                <a:gd name="connsiteY51" fmla="*/ 1506093 h 4267200"/>
                <a:gd name="connsiteX52" fmla="*/ 3646932 w 4267200"/>
                <a:gd name="connsiteY52" fmla="*/ 2762250 h 426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</a:cxnLst>
              <a:rect l="l" t="t" r="r" b="b"/>
              <a:pathLst>
                <a:path w="4267200" h="4267200">
                  <a:moveTo>
                    <a:pt x="2133600" y="1625537"/>
                  </a:moveTo>
                  <a:cubicBezTo>
                    <a:pt x="1853004" y="1625642"/>
                    <a:pt x="1625622" y="1853195"/>
                    <a:pt x="1625727" y="2133791"/>
                  </a:cubicBezTo>
                  <a:cubicBezTo>
                    <a:pt x="1625832" y="2414386"/>
                    <a:pt x="1853385" y="2641769"/>
                    <a:pt x="2133981" y="2641664"/>
                  </a:cubicBezTo>
                  <a:cubicBezTo>
                    <a:pt x="2414502" y="2641558"/>
                    <a:pt x="2641854" y="2414121"/>
                    <a:pt x="2641854" y="2133600"/>
                  </a:cubicBezTo>
                  <a:cubicBezTo>
                    <a:pt x="2641644" y="1853017"/>
                    <a:pt x="2414183" y="1625642"/>
                    <a:pt x="2133600" y="1625537"/>
                  </a:cubicBezTo>
                  <a:close/>
                  <a:moveTo>
                    <a:pt x="3321463" y="1235012"/>
                  </a:moveTo>
                  <a:cubicBezTo>
                    <a:pt x="3269182" y="1102519"/>
                    <a:pt x="3164300" y="997637"/>
                    <a:pt x="3031808" y="945356"/>
                  </a:cubicBezTo>
                  <a:cubicBezTo>
                    <a:pt x="2831783" y="866394"/>
                    <a:pt x="2355533" y="884111"/>
                    <a:pt x="2133600" y="884111"/>
                  </a:cubicBezTo>
                  <a:cubicBezTo>
                    <a:pt x="1911668" y="884111"/>
                    <a:pt x="1435894" y="865727"/>
                    <a:pt x="1235297" y="945356"/>
                  </a:cubicBezTo>
                  <a:cubicBezTo>
                    <a:pt x="1102804" y="997637"/>
                    <a:pt x="997923" y="1102519"/>
                    <a:pt x="945642" y="1235012"/>
                  </a:cubicBezTo>
                  <a:cubicBezTo>
                    <a:pt x="866775" y="1435037"/>
                    <a:pt x="884396" y="1911763"/>
                    <a:pt x="884396" y="2133505"/>
                  </a:cubicBezTo>
                  <a:cubicBezTo>
                    <a:pt x="884396" y="2355247"/>
                    <a:pt x="866775" y="2831402"/>
                    <a:pt x="946023" y="3032093"/>
                  </a:cubicBezTo>
                  <a:cubicBezTo>
                    <a:pt x="998304" y="3164586"/>
                    <a:pt x="1103185" y="3269467"/>
                    <a:pt x="1235678" y="3321749"/>
                  </a:cubicBezTo>
                  <a:cubicBezTo>
                    <a:pt x="1435703" y="3400711"/>
                    <a:pt x="1911953" y="3382995"/>
                    <a:pt x="2133981" y="3382995"/>
                  </a:cubicBezTo>
                  <a:cubicBezTo>
                    <a:pt x="2356009" y="3382995"/>
                    <a:pt x="2831592" y="3401378"/>
                    <a:pt x="3032189" y="3321749"/>
                  </a:cubicBezTo>
                  <a:cubicBezTo>
                    <a:pt x="3164681" y="3269467"/>
                    <a:pt x="3269563" y="3164586"/>
                    <a:pt x="3321844" y="3032093"/>
                  </a:cubicBezTo>
                  <a:cubicBezTo>
                    <a:pt x="3401378" y="2832068"/>
                    <a:pt x="3383090" y="2355342"/>
                    <a:pt x="3383090" y="2133600"/>
                  </a:cubicBezTo>
                  <a:cubicBezTo>
                    <a:pt x="3383090" y="1911858"/>
                    <a:pt x="3401378" y="1435799"/>
                    <a:pt x="3321844" y="1235107"/>
                  </a:cubicBezTo>
                  <a:close/>
                  <a:moveTo>
                    <a:pt x="2133600" y="2914650"/>
                  </a:moveTo>
                  <a:cubicBezTo>
                    <a:pt x="1702238" y="2914650"/>
                    <a:pt x="1352550" y="2564962"/>
                    <a:pt x="1352550" y="2133600"/>
                  </a:cubicBezTo>
                  <a:cubicBezTo>
                    <a:pt x="1352550" y="1702238"/>
                    <a:pt x="1702238" y="1352550"/>
                    <a:pt x="2133600" y="1352550"/>
                  </a:cubicBezTo>
                  <a:cubicBezTo>
                    <a:pt x="2564962" y="1352550"/>
                    <a:pt x="2914650" y="1702238"/>
                    <a:pt x="2914650" y="2133600"/>
                  </a:cubicBezTo>
                  <a:cubicBezTo>
                    <a:pt x="2915177" y="2564436"/>
                    <a:pt x="2566342" y="2914124"/>
                    <a:pt x="2135506" y="2914650"/>
                  </a:cubicBezTo>
                  <a:cubicBezTo>
                    <a:pt x="2134871" y="2914651"/>
                    <a:pt x="2134236" y="2914651"/>
                    <a:pt x="2133600" y="2914650"/>
                  </a:cubicBezTo>
                  <a:close/>
                  <a:moveTo>
                    <a:pt x="2946845" y="1502093"/>
                  </a:moveTo>
                  <a:cubicBezTo>
                    <a:pt x="2846158" y="1502145"/>
                    <a:pt x="2764494" y="1420566"/>
                    <a:pt x="2764441" y="1319879"/>
                  </a:cubicBezTo>
                  <a:cubicBezTo>
                    <a:pt x="2764388" y="1219193"/>
                    <a:pt x="2845968" y="1137528"/>
                    <a:pt x="2946654" y="1137476"/>
                  </a:cubicBezTo>
                  <a:cubicBezTo>
                    <a:pt x="3047341" y="1137423"/>
                    <a:pt x="3129005" y="1219003"/>
                    <a:pt x="3129058" y="1319689"/>
                  </a:cubicBezTo>
                  <a:cubicBezTo>
                    <a:pt x="3129058" y="1319721"/>
                    <a:pt x="3129058" y="1319752"/>
                    <a:pt x="3129058" y="1319784"/>
                  </a:cubicBezTo>
                  <a:cubicBezTo>
                    <a:pt x="3129479" y="1420259"/>
                    <a:pt x="3048369" y="1502051"/>
                    <a:pt x="2947894" y="1502472"/>
                  </a:cubicBezTo>
                  <a:cubicBezTo>
                    <a:pt x="2947671" y="1502473"/>
                    <a:pt x="2947448" y="1502473"/>
                    <a:pt x="2947226" y="1502474"/>
                  </a:cubicBezTo>
                  <a:close/>
                  <a:moveTo>
                    <a:pt x="3810000" y="0"/>
                  </a:moveTo>
                  <a:lnTo>
                    <a:pt x="457200" y="0"/>
                  </a:lnTo>
                  <a:cubicBezTo>
                    <a:pt x="204695" y="0"/>
                    <a:pt x="0" y="204695"/>
                    <a:pt x="0" y="457200"/>
                  </a:cubicBezTo>
                  <a:lnTo>
                    <a:pt x="0" y="3810000"/>
                  </a:lnTo>
                  <a:cubicBezTo>
                    <a:pt x="0" y="4062505"/>
                    <a:pt x="204695" y="4267200"/>
                    <a:pt x="457200" y="4267200"/>
                  </a:cubicBezTo>
                  <a:lnTo>
                    <a:pt x="3810000" y="4267200"/>
                  </a:lnTo>
                  <a:cubicBezTo>
                    <a:pt x="4062505" y="4267200"/>
                    <a:pt x="4267200" y="4062505"/>
                    <a:pt x="4267200" y="3810000"/>
                  </a:cubicBezTo>
                  <a:lnTo>
                    <a:pt x="4267200" y="457200"/>
                  </a:lnTo>
                  <a:cubicBezTo>
                    <a:pt x="4267200" y="204695"/>
                    <a:pt x="4062505" y="0"/>
                    <a:pt x="3810000" y="0"/>
                  </a:cubicBezTo>
                  <a:close/>
                  <a:moveTo>
                    <a:pt x="3646932" y="2762250"/>
                  </a:moveTo>
                  <a:cubicBezTo>
                    <a:pt x="3634645" y="3006376"/>
                    <a:pt x="3578924" y="3222689"/>
                    <a:pt x="3400711" y="3400425"/>
                  </a:cubicBezTo>
                  <a:cubicBezTo>
                    <a:pt x="3222498" y="3578162"/>
                    <a:pt x="3006376" y="3635026"/>
                    <a:pt x="2762536" y="3646646"/>
                  </a:cubicBezTo>
                  <a:cubicBezTo>
                    <a:pt x="2510981" y="3660839"/>
                    <a:pt x="1756791" y="3660839"/>
                    <a:pt x="1505236" y="3646646"/>
                  </a:cubicBezTo>
                  <a:cubicBezTo>
                    <a:pt x="1261110" y="3634359"/>
                    <a:pt x="1045559" y="3578543"/>
                    <a:pt x="867061" y="3400425"/>
                  </a:cubicBezTo>
                  <a:cubicBezTo>
                    <a:pt x="688562" y="3222308"/>
                    <a:pt x="632460" y="3005899"/>
                    <a:pt x="620840" y="2762250"/>
                  </a:cubicBezTo>
                  <a:cubicBezTo>
                    <a:pt x="606647" y="2510599"/>
                    <a:pt x="606647" y="1756315"/>
                    <a:pt x="620840" y="1504950"/>
                  </a:cubicBezTo>
                  <a:cubicBezTo>
                    <a:pt x="633127" y="1260824"/>
                    <a:pt x="688181" y="1044512"/>
                    <a:pt x="867061" y="866775"/>
                  </a:cubicBezTo>
                  <a:cubicBezTo>
                    <a:pt x="1045940" y="689038"/>
                    <a:pt x="1262063" y="632841"/>
                    <a:pt x="1505236" y="621221"/>
                  </a:cubicBezTo>
                  <a:cubicBezTo>
                    <a:pt x="1756791" y="607028"/>
                    <a:pt x="2510981" y="607028"/>
                    <a:pt x="2762536" y="621221"/>
                  </a:cubicBezTo>
                  <a:cubicBezTo>
                    <a:pt x="3006662" y="633508"/>
                    <a:pt x="3222879" y="689324"/>
                    <a:pt x="3400711" y="867442"/>
                  </a:cubicBezTo>
                  <a:cubicBezTo>
                    <a:pt x="3578543" y="1045559"/>
                    <a:pt x="3635312" y="1261967"/>
                    <a:pt x="3646932" y="1506093"/>
                  </a:cubicBezTo>
                  <a:cubicBezTo>
                    <a:pt x="3661124" y="1756791"/>
                    <a:pt x="3661124" y="2510409"/>
                    <a:pt x="3646932" y="2762250"/>
                  </a:cubicBezTo>
                  <a:close/>
                </a:path>
              </a:pathLst>
            </a:custGeom>
            <a:solidFill>
              <a:schemeClr val="accent5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grpSp>
          <p:nvGrpSpPr>
            <p:cNvPr id="49" name="Gruppieren 66">
              <a:extLst>
                <a:ext uri="{FF2B5EF4-FFF2-40B4-BE49-F238E27FC236}">
                  <a16:creationId xmlns:a16="http://schemas.microsoft.com/office/drawing/2014/main" id="{9CCB102C-9580-2217-B283-A67013A0B294}"/>
                </a:ext>
              </a:extLst>
            </p:cNvPr>
            <p:cNvGrpSpPr>
              <a:grpSpLocks/>
            </p:cNvGrpSpPr>
            <p:nvPr/>
          </p:nvGrpSpPr>
          <p:grpSpPr>
            <a:xfrm>
              <a:off x="3203009" y="2315105"/>
              <a:ext cx="2243792" cy="1001302"/>
              <a:chOff x="3203008" y="2315105"/>
              <a:chExt cx="2577579" cy="1001302"/>
            </a:xfrm>
          </p:grpSpPr>
          <p:sp>
            <p:nvSpPr>
              <p:cNvPr id="50" name="Copy contact 2">
                <a:extLst>
                  <a:ext uri="{FF2B5EF4-FFF2-40B4-BE49-F238E27FC236}">
                    <a16:creationId xmlns:a16="http://schemas.microsoft.com/office/drawing/2014/main" id="{83073DA9-49FF-E39E-5551-9427F192E720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203008" y="2315105"/>
                <a:ext cx="2577579" cy="184666"/>
              </a:xfrm>
              <a:prstGeom prst="rect">
                <a:avLst/>
              </a:prstGeom>
            </p:spPr>
            <p:txBody>
              <a:bodyPr wrap="square" lIns="0" tIns="0" rIns="0" bIns="0" anchor="t" anchorCtr="0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0"/>
                  </a:spcAft>
                  <a:buClr>
                    <a:srgbClr val="41AAAA"/>
                  </a:buClr>
                  <a:buSzTx/>
                  <a:buFontTx/>
                  <a:buNone/>
                  <a:tabLst/>
                  <a:defRPr/>
                </a:pPr>
                <a:r>
                  <a:rPr kumimoji="0" lang="en-US" sz="1200" b="0" i="1" u="none" strike="noStrike" kern="0" cap="none" spc="0" normalizeH="0" baseline="0" noProof="0" err="1">
                    <a:ln>
                      <a:noFill/>
                    </a:ln>
                    <a:effectLst/>
                    <a:uLnTx/>
                    <a:uFillTx/>
                  </a:rPr>
                  <a:t>profilename</a:t>
                </a:r>
                <a:endParaRPr kumimoji="0" lang="en-US" sz="1200" b="0" i="1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</a:endParaRPr>
              </a:p>
            </p:txBody>
          </p:sp>
          <p:sp>
            <p:nvSpPr>
              <p:cNvPr id="51" name="Copy contact 2">
                <a:extLst>
                  <a:ext uri="{FF2B5EF4-FFF2-40B4-BE49-F238E27FC236}">
                    <a16:creationId xmlns:a16="http://schemas.microsoft.com/office/drawing/2014/main" id="{70C35D26-947C-CBA9-CC30-D08B24ACDAD4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203008" y="2587317"/>
                <a:ext cx="2577579" cy="184666"/>
              </a:xfrm>
              <a:prstGeom prst="rect">
                <a:avLst/>
              </a:prstGeom>
            </p:spPr>
            <p:txBody>
              <a:bodyPr wrap="square" lIns="0" tIns="0" rIns="0" bIns="0" anchor="t" anchorCtr="0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0"/>
                  </a:spcAft>
                  <a:buClr>
                    <a:srgbClr val="41AAAA"/>
                  </a:buClr>
                  <a:buSzTx/>
                  <a:buFontTx/>
                  <a:buNone/>
                  <a:tabLst/>
                  <a:defRPr/>
                </a:pPr>
                <a:r>
                  <a:rPr kumimoji="0" lang="en-US" sz="1200" b="0" i="1" u="none" strike="noStrike" kern="0" cap="none" spc="0" normalizeH="0" baseline="0" noProof="0" err="1">
                    <a:ln>
                      <a:noFill/>
                    </a:ln>
                    <a:effectLst/>
                    <a:uLnTx/>
                    <a:uFillTx/>
                  </a:rPr>
                  <a:t>profilename</a:t>
                </a:r>
                <a:endParaRPr kumimoji="0" lang="en-US" sz="1200" b="0" i="1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</a:endParaRPr>
              </a:p>
            </p:txBody>
          </p:sp>
          <p:sp>
            <p:nvSpPr>
              <p:cNvPr id="52" name="Copy contact 2">
                <a:extLst>
                  <a:ext uri="{FF2B5EF4-FFF2-40B4-BE49-F238E27FC236}">
                    <a16:creationId xmlns:a16="http://schemas.microsoft.com/office/drawing/2014/main" id="{33452D72-80FF-7D4F-3BF4-2E25CAF7117A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203008" y="2859529"/>
                <a:ext cx="2577579" cy="184666"/>
              </a:xfrm>
              <a:prstGeom prst="rect">
                <a:avLst/>
              </a:prstGeom>
            </p:spPr>
            <p:txBody>
              <a:bodyPr wrap="square" lIns="0" tIns="0" rIns="0" bIns="0" anchor="t" anchorCtr="0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0"/>
                  </a:spcAft>
                  <a:buClr>
                    <a:srgbClr val="41AAAA"/>
                  </a:buClr>
                  <a:buSzTx/>
                  <a:buFontTx/>
                  <a:buNone/>
                  <a:tabLst/>
                  <a:defRPr/>
                </a:pPr>
                <a:r>
                  <a:rPr kumimoji="0" lang="en-US" sz="1200" b="0" i="1" u="none" strike="noStrike" kern="0" cap="none" spc="0" normalizeH="0" baseline="0" noProof="0" err="1">
                    <a:ln>
                      <a:noFill/>
                    </a:ln>
                    <a:effectLst/>
                    <a:uLnTx/>
                    <a:uFillTx/>
                  </a:rPr>
                  <a:t>profilename</a:t>
                </a:r>
                <a:endParaRPr kumimoji="0" lang="en-US" sz="1200" b="0" i="1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</a:endParaRPr>
              </a:p>
            </p:txBody>
          </p:sp>
          <p:sp>
            <p:nvSpPr>
              <p:cNvPr id="53" name="Copy contact 2">
                <a:extLst>
                  <a:ext uri="{FF2B5EF4-FFF2-40B4-BE49-F238E27FC236}">
                    <a16:creationId xmlns:a16="http://schemas.microsoft.com/office/drawing/2014/main" id="{CDD69034-F444-2895-9BC1-CBFF877C3399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203008" y="3131741"/>
                <a:ext cx="2577579" cy="184666"/>
              </a:xfrm>
              <a:prstGeom prst="rect">
                <a:avLst/>
              </a:prstGeom>
            </p:spPr>
            <p:txBody>
              <a:bodyPr wrap="square" lIns="0" tIns="0" rIns="0" bIns="0" anchor="t" anchorCtr="0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0"/>
                  </a:spcAft>
                  <a:buClr>
                    <a:srgbClr val="41AAAA"/>
                  </a:buClr>
                  <a:buSzTx/>
                  <a:buFontTx/>
                  <a:buNone/>
                  <a:tabLst/>
                  <a:defRPr/>
                </a:pPr>
                <a:r>
                  <a:rPr kumimoji="0" lang="en-US" sz="1200" b="0" i="1" u="none" strike="noStrike" kern="0" cap="none" spc="0" normalizeH="0" baseline="0" noProof="0" err="1">
                    <a:ln>
                      <a:noFill/>
                    </a:ln>
                    <a:effectLst/>
                    <a:uLnTx/>
                    <a:uFillTx/>
                  </a:rPr>
                  <a:t>profilename</a:t>
                </a:r>
                <a:endParaRPr kumimoji="0" lang="en-US" sz="1200" b="0" i="1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</a:endParaRPr>
              </a:p>
            </p:txBody>
          </p:sp>
        </p:grpSp>
      </p:grpSp>
      <p:sp>
        <p:nvSpPr>
          <p:cNvPr id="54" name="Text Placeholder 15">
            <a:extLst>
              <a:ext uri="{FF2B5EF4-FFF2-40B4-BE49-F238E27FC236}">
                <a16:creationId xmlns:a16="http://schemas.microsoft.com/office/drawing/2014/main" id="{C83B980E-BDDE-6F05-7AD9-9176A5276A7F}"/>
              </a:ext>
            </a:extLst>
          </p:cNvPr>
          <p:cNvSpPr txBox="1">
            <a:spLocks/>
          </p:cNvSpPr>
          <p:nvPr/>
        </p:nvSpPr>
        <p:spPr>
          <a:xfrm>
            <a:off x="407988" y="6215906"/>
            <a:ext cx="3930563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>
                <a:solidFill>
                  <a:schemeClr val="tx2"/>
                </a:solidFill>
              </a:rPr>
              <a:t>Keywords: member, members, intro, intros, introduction, introductions</a:t>
            </a:r>
          </a:p>
        </p:txBody>
      </p:sp>
    </p:spTree>
    <p:extLst>
      <p:ext uri="{BB962C8B-B14F-4D97-AF65-F5344CB8AC3E}">
        <p14:creationId xmlns:p14="http://schemas.microsoft.com/office/powerpoint/2010/main" val="160117840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YBAQEBAQEBAQEBAQEBAQIAAAAAAAAAAwAAAAMAAAAA/////wQAMwwAAAAAAAAAAAAAIAD///////////////8AAAD////////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QAAAACABAACwTRfQ5FaXFIk1XpU0ZanpEFAAAAAAADAAAAAAADAAAAAwADAAAAAAD///////8DAAAAAAD///////8DAAEA////////BAAAAAMAEAALG0w/MwTyCU2UuZFa1qTiEQUAAAABAAMAAAAC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PALAAAAAAAAAAAAACAB////////////////AAAA////////////////BAAAAAMA////////BAAAAAMA////////BAAAAAMA////////BAAAAAMA////////BAAAAAMA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aAAZMaW5rZWRTaGFwZXNEYXRhUHJvcGVydHlfMAUAAAAAAAQAAAADAAQAAAABAAMABgEDAAAAAwD///////8lAAZMaW5rZWRTaGFwZVByZXNlbnRhdGlvblNldHRpbmdzRGF0YV8wBQAAAAEABAAAAAAABAAAAAIABAAAAAAA////////BAAAAAAA////////BAAAAAAA////////BAAAAAAA////////BA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ODgAAAAAAAAAAAAD/////gwCDAAAABV9pZAAQAAAABATRfQ5FaXFIk1XpU0ZanpEDRGF0YQAbAAAABExpbmtlZFNoYXBlRGF0YQAFAAAAAAACTmFtZQAZAAAATGlua2VkU2hhcGVzRGF0YVByb3BlcnR5ABBWZXJzaW9uAAAAAAAJTGFzdFdyaXRlAHPGcCyHAQAAAAEA/////8YAxgAAAAVfaWQAEAAAAAQbTD8zBPIJTZS5kVrWpOIRA0RhdGEAUwAAAAhQcmVzZW50YXRpb25TY2FubmVkRm9yTGlua2VkU2hhcGVzAAECTnVtYmVyRm9ybWF0U2VwYXJhdG9yTW9kZQAKAAAAQXV0b21hdGljAAACTmFtZQAkAAAATGlua2VkU2hhcGVQcmVzZW50YXRpb25TZXR0aW5nc0RhdGEAEFZlcnNpb24AAAAAAAlMYXN0V3JpdGUAssZwLIc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156746011635903"/>
  <p:tag name="EMPOWERCHARTSPROPERTIES_B_LENGTH" val="24576"/>
  <p:tag name="GRUNT-HP-YDH21T" val="pQAAAA=="/>
  <p:tag name="THINKCELLUNDODONOTDELETE" val="0"/>
  <p:tag name="THINKCELLPRESENTATIONDONOTDELETE" val="&lt;?xml version=&quot;1.0&quot; encoding=&quot;UTF-16&quot; standalone=&quot;yes&quot;?&gt;&lt;root reqver=&quot;28224&quot;&gt;&lt;version val=&quot;35566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d %1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1&quot;/&gt;&lt;m_eweekdayFirstOfWorkweek val=&quot;2&quot;/&gt;&lt;m_eweekdayFirstOfWeekend val=&quot;7&quot;/&gt;&lt;/CPresentation&gt;&lt;/root&gt;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"/>
      </a:majorFont>
      <a:minorFont>
        <a:latin typeface="理想品牌字体 2022"/>
        <a:ea typeface="理想品牌字体 2022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&#65279;<?xml version="1.0" encoding="utf-8"?><Relationships xmlns="http://schemas.openxmlformats.org/package/2006/relationships"><Relationship Type="http://schemas.openxmlformats.org/officeDocument/2006/relationships/customXmlProps" Target="/customXml/itemProps1.xml" Id="rId1" /></Relationships>
</file>

<file path=customXml/_rels/item2.xml.rels>&#65279;<?xml version="1.0" encoding="utf-8"?><Relationships xmlns="http://schemas.openxmlformats.org/package/2006/relationships"><Relationship Type="http://schemas.openxmlformats.org/officeDocument/2006/relationships/customXmlProps" Target="/customXml/itemProps2.xml" Id="rId1" 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6dd700bd-da09-4649-9444-0dda6d878ea0">
      <Terms xmlns="http://schemas.microsoft.com/office/infopath/2007/PartnerControls"/>
    </lcf76f155ced4ddcb4097134ff3c332f>
    <TaxCatchAll xmlns="864686ff-c528-4121-8c14-dfe2dfe54fd3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4EBA828D669A945A665683A6A0700C6" ma:contentTypeVersion="16" ma:contentTypeDescription="Create a new document." ma:contentTypeScope="" ma:versionID="3689712686b1536c59bae695a2aec147">
  <xsd:schema xmlns:xsd="http://www.w3.org/2001/XMLSchema" xmlns:xs="http://www.w3.org/2001/XMLSchema" xmlns:p="http://schemas.microsoft.com/office/2006/metadata/properties" xmlns:ns2="6dd700bd-da09-4649-9444-0dda6d878ea0" xmlns:ns3="864686ff-c528-4121-8c14-dfe2dfe54fd3" targetNamespace="http://schemas.microsoft.com/office/2006/metadata/properties" ma:root="true" ma:fieldsID="b09bedee47c1608be4bb72120d99801d" ns2:_="" ns3:_="">
    <xsd:import namespace="6dd700bd-da09-4649-9444-0dda6d878ea0"/>
    <xsd:import namespace="864686ff-c528-4121-8c14-dfe2dfe54fd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LengthInSeconds" minOccurs="0"/>
                <xsd:element ref="ns2:MediaServiceDateTaken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ObjectDetectorVersions" minOccurs="0"/>
                <xsd:element ref="ns2:MediaServiceSearchPropertie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dd700bd-da09-4649-9444-0dda6d878ea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LengthInSeconds" ma:index="1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DateTaken" ma:index="11" nillable="true" ma:displayName="MediaServiceDateTaken" ma:hidden="true" ma:internalName="MediaServiceDateTaken" ma:readOnly="true">
      <xsd:simpleType>
        <xsd:restriction base="dms:Text"/>
      </xsd:simpleType>
    </xsd:element>
    <xsd:element name="lcf76f155ced4ddcb4097134ff3c332f" ma:index="15" nillable="true" ma:taxonomy="true" ma:internalName="lcf76f155ced4ddcb4097134ff3c332f" ma:taxonomyFieldName="MediaServiceImageTags" ma:displayName="Image Tags" ma:readOnly="false" ma:fieldId="{5cf76f15-5ced-4ddc-b409-7134ff3c332f}" ma:taxonomyMulti="true" ma:sspId="d14de46d-d306-4096-aa35-c0c8680c1020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ObjectDetectorVersions" ma:index="2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1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Location" ma:index="22" nillable="true" ma:displayName="Location" ma:description="" ma:indexed="true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64686ff-c528-4121-8c14-dfe2dfe54fd3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6" nillable="true" ma:displayName="Taxonomy Catch All Column" ma:hidden="true" ma:list="{225ba9f0-7af7-415e-a485-bfde88f13ed4}" ma:internalName="TaxCatchAll" ma:showField="CatchAllData" ma:web="864686ff-c528-4121-8c14-dfe2dfe54fd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3B317A9-6803-48C9-9473-817C969622FE}">
  <ds:schemaRefs>
    <ds:schemaRef ds:uri="http://schemas.microsoft.com/office/2006/documentManagement/types"/>
    <ds:schemaRef ds:uri="http://purl.org/dc/elements/1.1/"/>
    <ds:schemaRef ds:uri="http://purl.org/dc/dcmitype/"/>
    <ds:schemaRef ds:uri="6dd700bd-da09-4649-9444-0dda6d878ea0"/>
    <ds:schemaRef ds:uri="http://www.w3.org/XML/1998/namespace"/>
    <ds:schemaRef ds:uri="http://purl.org/dc/terms/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864686ff-c528-4121-8c14-dfe2dfe54fd3"/>
  </ds:schemaRefs>
</ds:datastoreItem>
</file>

<file path=customXml/itemProps2.xml><?xml version="1.0" encoding="utf-8"?>
<ds:datastoreItem xmlns:ds="http://schemas.openxmlformats.org/officeDocument/2006/customXml" ds:itemID="{343A29A7-6CC8-4547-B6F1-D3AFCBF90A13}">
  <ds:schemaRefs>
    <ds:schemaRef ds:uri="6dd700bd-da09-4649-9444-0dda6d878ea0"/>
    <ds:schemaRef ds:uri="864686ff-c528-4121-8c14-dfe2dfe54fd3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24183</Words>
  <Application>Microsoft Office PowerPoint</Application>
  <PresentationFormat>宽屏</PresentationFormat>
  <Paragraphs>5454</Paragraphs>
  <Slides>250</Slides>
  <Notes>250</Notes>
  <HiddenSlides>0</HiddenSlides>
  <MMClips>0</MMClips>
  <ScaleCrop>false</ScaleCrop>
  <HeadingPairs>
    <vt:vector size="8" baseType="variant">
      <vt:variant>
        <vt:lpstr>已用的字体</vt:lpstr>
      </vt:variant>
      <vt:variant>
        <vt:i4>16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250</vt:i4>
      </vt:variant>
    </vt:vector>
  </HeadingPairs>
  <TitlesOfParts>
    <vt:vector size="268" baseType="lpstr">
      <vt:lpstr>Arial,Sans-Serif</vt:lpstr>
      <vt:lpstr>Avenir Next</vt:lpstr>
      <vt:lpstr>Gill Sans</vt:lpstr>
      <vt:lpstr>Helvetica Neue Light</vt:lpstr>
      <vt:lpstr>理想品牌字体 2022</vt:lpstr>
      <vt:lpstr>Arial</vt:lpstr>
      <vt:lpstr>Calibri</vt:lpstr>
      <vt:lpstr>Lato Light</vt:lpstr>
      <vt:lpstr>Montserrat</vt:lpstr>
      <vt:lpstr>Montserrat ExtraBold</vt:lpstr>
      <vt:lpstr>Segoe UI</vt:lpstr>
      <vt:lpstr>Symbol</vt:lpstr>
      <vt:lpstr>Trebuchet MS</vt:lpstr>
      <vt:lpstr>Verdana</vt:lpstr>
      <vt:lpstr>Wingdings</vt:lpstr>
      <vt:lpstr>Wingdings 2</vt:lpstr>
      <vt:lpstr>BCG Grid 16:9</vt:lpstr>
      <vt:lpstr>think-cell 幻灯片</vt:lpstr>
      <vt:lpstr>Agenda I</vt:lpstr>
      <vt:lpstr>Agenda II</vt:lpstr>
      <vt:lpstr>Agenda III</vt:lpstr>
      <vt:lpstr>Agenda with icons</vt:lpstr>
      <vt:lpstr>Table of contents</vt:lpstr>
      <vt:lpstr>Table of contents, clustered</vt:lpstr>
      <vt:lpstr>Schedule I</vt:lpstr>
      <vt:lpstr>Schedule II</vt:lpstr>
      <vt:lpstr>Schedule III</vt:lpstr>
      <vt:lpstr>Schedule IV</vt:lpstr>
      <vt:lpstr>Dashboard schedule </vt:lpstr>
      <vt:lpstr>Dashboard</vt:lpstr>
      <vt:lpstr>Traffic light dashboard</vt:lpstr>
      <vt:lpstr>Management summary</vt:lpstr>
      <vt:lpstr>Innovative power</vt:lpstr>
      <vt:lpstr>Stats dashboard</vt:lpstr>
      <vt:lpstr>Funnel I</vt:lpstr>
      <vt:lpstr>Funnel II</vt:lpstr>
      <vt:lpstr>Funnel III</vt:lpstr>
      <vt:lpstr>Funnel, horizontal I</vt:lpstr>
      <vt:lpstr>Funnel, horizontal II</vt:lpstr>
      <vt:lpstr>Funnel dashboard</vt:lpstr>
      <vt:lpstr>Simple organigram</vt:lpstr>
      <vt:lpstr>Organigram, clustered I</vt:lpstr>
      <vt:lpstr>Organigram, clustered II</vt:lpstr>
      <vt:lpstr>Organigram, clustered III</vt:lpstr>
      <vt:lpstr>Monopoly-box organigram</vt:lpstr>
      <vt:lpstr>Decision tree</vt:lpstr>
      <vt:lpstr>Hierarchy tree I</vt:lpstr>
      <vt:lpstr>Hierarchy tree II</vt:lpstr>
      <vt:lpstr>Problem tree</vt:lpstr>
      <vt:lpstr>3D pyramid with three layers</vt:lpstr>
      <vt:lpstr>3D pyramid with four layers</vt:lpstr>
      <vt:lpstr>Pyramid with four layers</vt:lpstr>
      <vt:lpstr>Pyramid with six layers</vt:lpstr>
      <vt:lpstr>Pyramid with five layers, cropped</vt:lpstr>
      <vt:lpstr>Ziggurat diagram</vt:lpstr>
      <vt:lpstr>Triangles with text</vt:lpstr>
      <vt:lpstr>Five layers with text I</vt:lpstr>
      <vt:lpstr>Five layers with text II</vt:lpstr>
      <vt:lpstr>Three core elements I</vt:lpstr>
      <vt:lpstr>Three core elements II</vt:lpstr>
      <vt:lpstr>Sunburst diagram, illustrative</vt:lpstr>
      <vt:lpstr>Sunburst diagram, data-driven</vt:lpstr>
      <vt:lpstr>Spiderweb</vt:lpstr>
      <vt:lpstr>Intersection</vt:lpstr>
      <vt:lpstr>Common aspects</vt:lpstr>
      <vt:lpstr>Three important values</vt:lpstr>
      <vt:lpstr>Venn diagram</vt:lpstr>
      <vt:lpstr>Venn diagrams</vt:lpstr>
      <vt:lpstr>Target market</vt:lpstr>
      <vt:lpstr>Supply chain management</vt:lpstr>
      <vt:lpstr>Density</vt:lpstr>
      <vt:lpstr>100 people</vt:lpstr>
      <vt:lpstr>Quantity comparison</vt:lpstr>
      <vt:lpstr>Comparison of percentages</vt:lpstr>
      <vt:lpstr>Comparison of ring diagrams</vt:lpstr>
      <vt:lpstr>Comparison of ring diagrams with results</vt:lpstr>
      <vt:lpstr>Two barometers with text </vt:lpstr>
      <vt:lpstr>Goal</vt:lpstr>
      <vt:lpstr>Iceberg</vt:lpstr>
      <vt:lpstr>World map with text</vt:lpstr>
      <vt:lpstr>World map dashboard</vt:lpstr>
      <vt:lpstr>World map</vt:lpstr>
      <vt:lpstr>World map: North America</vt:lpstr>
      <vt:lpstr>World map: South America</vt:lpstr>
      <vt:lpstr>World map: Europe</vt:lpstr>
      <vt:lpstr>World map: Africa</vt:lpstr>
      <vt:lpstr>World map: Asia</vt:lpstr>
      <vt:lpstr>World map: Oceania</vt:lpstr>
      <vt:lpstr>Map: Australia</vt:lpstr>
      <vt:lpstr>Map: Brazil</vt:lpstr>
      <vt:lpstr>Map: Canada</vt:lpstr>
      <vt:lpstr>Map: China</vt:lpstr>
      <vt:lpstr>Map: France</vt:lpstr>
      <vt:lpstr>Map: Germany</vt:lpstr>
      <vt:lpstr>Map: India</vt:lpstr>
      <vt:lpstr>Map: Italy</vt:lpstr>
      <vt:lpstr>Map: Japan</vt:lpstr>
      <vt:lpstr>Map: Mexico</vt:lpstr>
      <vt:lpstr>Map: Russia</vt:lpstr>
      <vt:lpstr>Map: South Korea</vt:lpstr>
      <vt:lpstr>Map: Spain</vt:lpstr>
      <vt:lpstr>Map: United Kingdom</vt:lpstr>
      <vt:lpstr>Map: United States</vt:lpstr>
      <vt:lpstr>Matrix: Good, neutral, bad</vt:lpstr>
      <vt:lpstr>Matrix: Four blocks I</vt:lpstr>
      <vt:lpstr>Matrix: Four blocks II</vt:lpstr>
      <vt:lpstr>Matrix: Nine blocks</vt:lpstr>
      <vt:lpstr>Aspect matrix</vt:lpstr>
      <vt:lpstr>Icon matrix</vt:lpstr>
      <vt:lpstr>Process matrix</vt:lpstr>
      <vt:lpstr>Matrices with four areas</vt:lpstr>
      <vt:lpstr>SWOT analysis I</vt:lpstr>
      <vt:lpstr>SWOT analysis II</vt:lpstr>
      <vt:lpstr>SWOT analysis III</vt:lpstr>
      <vt:lpstr>SWOT analysis dashboard</vt:lpstr>
      <vt:lpstr>Honeycomb</vt:lpstr>
      <vt:lpstr>Puzzle</vt:lpstr>
      <vt:lpstr>Process puzzle</vt:lpstr>
      <vt:lpstr>Two obstacles</vt:lpstr>
      <vt:lpstr>Pillar text box</vt:lpstr>
      <vt:lpstr>Business model</vt:lpstr>
      <vt:lpstr>Pros and cons I</vt:lpstr>
      <vt:lpstr>Pros and cons II</vt:lpstr>
      <vt:lpstr>Pros and cons III</vt:lpstr>
      <vt:lpstr>Five steps </vt:lpstr>
      <vt:lpstr>Buildup</vt:lpstr>
      <vt:lpstr>Three stairs </vt:lpstr>
      <vt:lpstr>Ladder to goal I</vt:lpstr>
      <vt:lpstr>Ladder to goal II</vt:lpstr>
      <vt:lpstr>Four circular elements</vt:lpstr>
      <vt:lpstr>Radiate </vt:lpstr>
      <vt:lpstr>Mind map</vt:lpstr>
      <vt:lpstr>Circle with numbered text I</vt:lpstr>
      <vt:lpstr>Circle with numbered text II</vt:lpstr>
      <vt:lpstr>Process flow</vt:lpstr>
      <vt:lpstr>Process flow with swim lanes</vt:lpstr>
      <vt:lpstr>Process stages</vt:lpstr>
      <vt:lpstr>Infographic process I</vt:lpstr>
      <vt:lpstr>Infographic process II</vt:lpstr>
      <vt:lpstr>Infographic process III</vt:lpstr>
      <vt:lpstr>Infographic process IV</vt:lpstr>
      <vt:lpstr>Infographic process V</vt:lpstr>
      <vt:lpstr>Infographic process VI</vt:lpstr>
      <vt:lpstr>Infographic process VII</vt:lpstr>
      <vt:lpstr>Infographic process with highlight</vt:lpstr>
      <vt:lpstr>Infographic process with results</vt:lpstr>
      <vt:lpstr>Four steps</vt:lpstr>
      <vt:lpstr>Path</vt:lpstr>
      <vt:lpstr>Numbered process</vt:lpstr>
      <vt:lpstr>Circular ongoing sprint</vt:lpstr>
      <vt:lpstr>Circular sprint</vt:lpstr>
      <vt:lpstr>Circular text</vt:lpstr>
      <vt:lpstr>Circular text flow</vt:lpstr>
      <vt:lpstr>Process circle</vt:lpstr>
      <vt:lpstr>Four circle segments</vt:lpstr>
      <vt:lpstr>Six circle segments</vt:lpstr>
      <vt:lpstr>Value chain I</vt:lpstr>
      <vt:lpstr>Value chain II</vt:lpstr>
      <vt:lpstr>Value chain III</vt:lpstr>
      <vt:lpstr>Overlapping processes</vt:lpstr>
      <vt:lpstr>Customer journey</vt:lpstr>
      <vt:lpstr>Customer journey dashboard</vt:lpstr>
      <vt:lpstr>Plan</vt:lpstr>
      <vt:lpstr>Swim lane</vt:lpstr>
      <vt:lpstr>Swim lane, complex</vt:lpstr>
      <vt:lpstr>Influencing components</vt:lpstr>
      <vt:lpstr>Building blocks</vt:lpstr>
      <vt:lpstr>Cause and effect I</vt:lpstr>
      <vt:lpstr>Cause and effect II</vt:lpstr>
      <vt:lpstr>Cause and effect III</vt:lpstr>
      <vt:lpstr>Cause and effect IV</vt:lpstr>
      <vt:lpstr>Cause and effect V</vt:lpstr>
      <vt:lpstr>Cause and effect VI</vt:lpstr>
      <vt:lpstr>Phases/processes</vt:lpstr>
      <vt:lpstr>Circular arrows, cycles</vt:lpstr>
      <vt:lpstr>Circle segments I</vt:lpstr>
      <vt:lpstr>Circle segments II</vt:lpstr>
      <vt:lpstr>Quote I</vt:lpstr>
      <vt:lpstr>Quote II</vt:lpstr>
      <vt:lpstr>Six key messages and quotes</vt:lpstr>
      <vt:lpstr>Table with illustrated header</vt:lpstr>
      <vt:lpstr>Sectioned summary</vt:lpstr>
      <vt:lpstr>Table with four columns</vt:lpstr>
      <vt:lpstr>Table with five columns</vt:lpstr>
      <vt:lpstr>Table with five columns, no header</vt:lpstr>
      <vt:lpstr>Team slide with four members</vt:lpstr>
      <vt:lpstr>Team slide with four members and social media profiles I</vt:lpstr>
      <vt:lpstr>Team slide with two members and social media profiles II</vt:lpstr>
      <vt:lpstr>Team slide with three members and social media profiles III</vt:lpstr>
      <vt:lpstr>Team slide with four members and social media profiles IV</vt:lpstr>
      <vt:lpstr>Team slide with five members and social media profiles V</vt:lpstr>
      <vt:lpstr>Team slide with three profiles </vt:lpstr>
      <vt:lpstr>Six business cards</vt:lpstr>
      <vt:lpstr>Short personal profile</vt:lpstr>
      <vt:lpstr>Detailed personal profile</vt:lpstr>
      <vt:lpstr>Two text boxes with pictures</vt:lpstr>
      <vt:lpstr>Three text boxes with pictures</vt:lpstr>
      <vt:lpstr>Four text boxes with pictures</vt:lpstr>
      <vt:lpstr>Two text boxes with pictures, vertical</vt:lpstr>
      <vt:lpstr>Assessment</vt:lpstr>
      <vt:lpstr>Six building blocks II</vt:lpstr>
      <vt:lpstr>Six building blocks I</vt:lpstr>
      <vt:lpstr>Goals I</vt:lpstr>
      <vt:lpstr>Goals II</vt:lpstr>
      <vt:lpstr>Six objectives</vt:lpstr>
      <vt:lpstr>Matrix/prioritization: 2×2</vt:lpstr>
      <vt:lpstr>Matrix/prioritization: 2×3</vt:lpstr>
      <vt:lpstr>Three text boxes with enumeration</vt:lpstr>
      <vt:lpstr>Four text boxes with enumeration</vt:lpstr>
      <vt:lpstr>Annotations: CAGR arrow</vt:lpstr>
      <vt:lpstr>Annotations: Multiple CAGR arrows</vt:lpstr>
      <vt:lpstr>Annotations: Total difference arrow</vt:lpstr>
      <vt:lpstr>Annotations: Multiple total difference arrows</vt:lpstr>
      <vt:lpstr>Annotations: Level difference arrow</vt:lpstr>
      <vt:lpstr>Annotations: Baseline break</vt:lpstr>
      <vt:lpstr>Annotations: Value line</vt:lpstr>
      <vt:lpstr>Time series: Stacked column</vt:lpstr>
      <vt:lpstr>Composition: Stacked 100% column</vt:lpstr>
      <vt:lpstr>Item comparison: Clustered column</vt:lpstr>
      <vt:lpstr>Time series: Combination</vt:lpstr>
      <vt:lpstr>Stacked, 100%, clustered column</vt:lpstr>
      <vt:lpstr>Item comparison: Bar I</vt:lpstr>
      <vt:lpstr>Item comparison: Bar II</vt:lpstr>
      <vt:lpstr>Structure, composition: Stacked 100% bar</vt:lpstr>
      <vt:lpstr>Item comparison: Butterfly, tornado</vt:lpstr>
      <vt:lpstr>Time series: Line</vt:lpstr>
      <vt:lpstr>Time series: Combination</vt:lpstr>
      <vt:lpstr>Time series: Area</vt:lpstr>
      <vt:lpstr>Structure, composition: Area 100%</vt:lpstr>
      <vt:lpstr>Line, area, area 100%</vt:lpstr>
      <vt:lpstr>Item comparison: Football field</vt:lpstr>
      <vt:lpstr>Time series: Box and whisker, box plot</vt:lpstr>
      <vt:lpstr>Time series: Candlestick, stock price</vt:lpstr>
      <vt:lpstr>Structure, composition: Mekko (% axis)</vt:lpstr>
      <vt:lpstr>Item comparison: Mekko (unit axis)</vt:lpstr>
      <vt:lpstr>Structure, composition: Pie</vt:lpstr>
      <vt:lpstr>Structure, composition: Doughnut</vt:lpstr>
      <vt:lpstr>Structure, composition: Bar of pie</vt:lpstr>
      <vt:lpstr>Correlation: Scatter</vt:lpstr>
      <vt:lpstr>Item comparison: Bubble</vt:lpstr>
      <vt:lpstr>Timeline: Gantt I</vt:lpstr>
      <vt:lpstr>Timeline: Gantt II</vt:lpstr>
      <vt:lpstr>Timeline: Gantt III</vt:lpstr>
      <vt:lpstr>Contribution to change: Build-down waterfall</vt:lpstr>
      <vt:lpstr>Contribution to change: Build-up waterfall</vt:lpstr>
      <vt:lpstr>Comparison: Funnel, pipeline</vt:lpstr>
      <vt:lpstr>Timeline</vt:lpstr>
      <vt:lpstr>Historical timeline</vt:lpstr>
      <vt:lpstr>Timeline with slide transitions I</vt:lpstr>
      <vt:lpstr>Timeline with slide transitions II</vt:lpstr>
      <vt:lpstr>Timeline with slide transitions III</vt:lpstr>
      <vt:lpstr>Timeline with slide transitions, horizontal I</vt:lpstr>
      <vt:lpstr>Timeline with slide transitions, horizontal II</vt:lpstr>
      <vt:lpstr>Timeline with slide transitions, horizontal III</vt:lpstr>
      <vt:lpstr>Status timeline</vt:lpstr>
      <vt:lpstr>Arched timeline</vt:lpstr>
      <vt:lpstr>Milestones I</vt:lpstr>
      <vt:lpstr>Milestones II</vt:lpstr>
      <vt:lpstr>Road map</vt:lpstr>
      <vt:lpstr>Sprint planning</vt:lpstr>
      <vt:lpstr>Monthly dashboard calendar</vt:lpstr>
      <vt:lpstr>Weekly dashboard calendar</vt:lpstr>
      <vt:lpstr>Symbols</vt:lpstr>
      <vt:lpstr>Icons</vt:lpstr>
      <vt:lpstr>Puzzle pieces</vt:lpstr>
      <vt:lpstr>Gears</vt:lpstr>
      <vt:lpstr>Newsflash</vt:lpstr>
      <vt:lpstr>Newspaper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25-07-15T06:08:17Z</dcterms:created>
  <dcterms:modified xsi:type="dcterms:W3CDTF">2025-08-06T09:30:3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ediaServiceImageTags">
    <vt:lpwstr/>
  </property>
</Properties>
</file>